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7"/>
  </p:notesMasterIdLst>
  <p:sldIdLst>
    <p:sldId id="256" r:id="rId2"/>
    <p:sldId id="2147470668" r:id="rId3"/>
    <p:sldId id="260" r:id="rId4"/>
    <p:sldId id="261" r:id="rId5"/>
    <p:sldId id="263" r:id="rId6"/>
    <p:sldId id="265" r:id="rId7"/>
    <p:sldId id="257" r:id="rId8"/>
    <p:sldId id="2147470669" r:id="rId9"/>
    <p:sldId id="269" r:id="rId10"/>
    <p:sldId id="270" r:id="rId11"/>
    <p:sldId id="272" r:id="rId12"/>
    <p:sldId id="273" r:id="rId13"/>
    <p:sldId id="274" r:id="rId14"/>
    <p:sldId id="275" r:id="rId15"/>
    <p:sldId id="276" r:id="rId16"/>
    <p:sldId id="279" r:id="rId17"/>
    <p:sldId id="2147470660" r:id="rId18"/>
    <p:sldId id="2147470661" r:id="rId19"/>
    <p:sldId id="2147470662" r:id="rId20"/>
    <p:sldId id="2147470663" r:id="rId21"/>
    <p:sldId id="2147470664" r:id="rId22"/>
    <p:sldId id="2147470665" r:id="rId23"/>
    <p:sldId id="2147470666" r:id="rId24"/>
    <p:sldId id="2147470667" r:id="rId25"/>
    <p:sldId id="2147470670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6BD26"/>
    <a:srgbClr val="2E2E38"/>
    <a:srgbClr val="3E3E48"/>
    <a:srgbClr val="6D6D74"/>
    <a:srgbClr val="E2EFDA"/>
    <a:srgbClr val="D2C126"/>
    <a:srgbClr val="333333"/>
    <a:srgbClr val="000000"/>
    <a:srgbClr val="2524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D8E6AF-5C8E-4436-8757-EC0377FFA5AB}" v="3" dt="2024-02-05T13:03:32.6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71B51-C80E-4498-9258-BB9FA0C99A92}" type="datetimeFigureOut">
              <a:rPr lang="pl-PL" smtClean="0"/>
              <a:t>2024-03-05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8C99A-8277-4243-B06D-E1044F29FA9F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37239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4343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537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5 March 2024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" y="1137920"/>
            <a:ext cx="8250503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327" marR="0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0919" marR="0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5752" marR="0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091" marR="0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327" marR="0" lvl="1" indent="-271327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0919" marR="0" lvl="2" indent="-233246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5752" marR="0" lvl="3" indent="-231659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091" marR="0" lvl="4" indent="-201512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0" y="907750"/>
            <a:ext cx="1079438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49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283" y="1137920"/>
            <a:ext cx="10975022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40862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2" y="1137924"/>
            <a:ext cx="10972800" cy="4834617"/>
          </a:xfrm>
        </p:spPr>
        <p:txBody>
          <a:bodyPr/>
          <a:lstStyle>
            <a:lvl1pPr marL="355847" marR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996">
                <a:solidFill>
                  <a:schemeClr val="bg1"/>
                </a:solidFill>
              </a:defRPr>
            </a:lvl1pPr>
            <a:lvl2pPr marL="711693" marR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796">
                <a:solidFill>
                  <a:schemeClr val="bg1"/>
                </a:solidFill>
              </a:defRPr>
            </a:lvl2pPr>
            <a:lvl3pPr marL="1067540" marR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596">
                <a:solidFill>
                  <a:schemeClr val="bg1"/>
                </a:solidFill>
              </a:defRPr>
            </a:lvl3pPr>
            <a:lvl4pPr marL="1423386" marR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396">
                <a:solidFill>
                  <a:schemeClr val="bg1"/>
                </a:solidFill>
              </a:defRPr>
            </a:lvl4pPr>
            <a:lvl5pPr marL="1779231" marR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197">
                <a:solidFill>
                  <a:schemeClr val="bg1"/>
                </a:solidFill>
              </a:defRPr>
            </a:lvl5pPr>
          </a:lstStyle>
          <a:p>
            <a:pPr marL="355847" marR="0" lvl="0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99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711693" marR="0" lvl="1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9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67540" marR="0" lvl="2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9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23386" marR="0" lvl="3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39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779231" marR="0" lvl="4" indent="-355847" algn="l" defTabSz="912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19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19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Line 10">
            <a:extLst>
              <a:ext uri="{FF2B5EF4-FFF2-40B4-BE49-F238E27FC236}">
                <a16:creationId xmlns:a16="http://schemas.microsoft.com/office/drawing/2014/main" id="{A3E3A345-3E5E-440F-8147-44762178B3E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047450"/>
            <a:ext cx="913606" cy="0"/>
          </a:xfrm>
          <a:prstGeom prst="line">
            <a:avLst/>
          </a:prstGeom>
          <a:noFill/>
          <a:ln w="412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564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SE THIS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9D9D13A0-99C3-48FD-B592-5F4413421D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4" y="6356352"/>
            <a:ext cx="303055" cy="3111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A3815458-D990-413F-B939-204711449BD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1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6A3D791-27F7-450C-AEA9-12700717894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1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84B600CA-027E-4ECC-8F7B-224F89C3F59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1"/>
            </a:p>
          </p:txBody>
        </p:sp>
      </p:grp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ADA42CC8-3AF2-4E79-87B0-565567A51C9E}"/>
              </a:ext>
            </a:extLst>
          </p:cNvPr>
          <p:cNvSpPr txBox="1">
            <a:spLocks/>
          </p:cNvSpPr>
          <p:nvPr userDrawn="1"/>
        </p:nvSpPr>
        <p:spPr>
          <a:xfrm>
            <a:off x="609286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8"/>
              <a:t>Page </a:t>
            </a:r>
            <a:fld id="{D5B76411-544C-4F9A-8EDE-9EEB2BD21F95}" type="slidenum">
              <a:rPr lang="en-IN" sz="798" smtClean="0"/>
              <a:t>‹#›</a:t>
            </a:fld>
            <a:endParaRPr sz="798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29DF524F-A78F-4B48-9703-14A0879DD4F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6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8F39FA-1B55-41C8-903A-3960A987C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0836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B5CD2-6411-40D2-871F-26D678A91365}" type="datetimeFigureOut">
              <a:rPr lang="pl-PL" smtClean="0"/>
              <a:t>2024-03-05</a:t>
            </a:fld>
            <a:endParaRPr lang="pl-P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93440-B21F-498E-8275-C3F659A6BB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7982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B5CD2-6411-40D2-871F-26D678A91365}" type="datetimeFigureOut">
              <a:rPr lang="pl-PL" smtClean="0"/>
              <a:t>2024-03-05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593440-B21F-498E-8275-C3F659A6BB9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4465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1867C3-9C51-4253-98FD-59E02F3C2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12199683" cy="6858000"/>
          </a:xfrm>
          <a:prstGeom prst="rect">
            <a:avLst/>
          </a:prstGeom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24AD5B92-1C73-4F50-8FED-786A3979E71C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4F6E51F0-4D85-4669-9BB4-5BA14F66390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C56E936-A761-41A7-939A-C9309E06CFC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7E40F5BD-253C-437C-9C8C-6048F4C20DD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D2C2A9D-9C18-4941-A88B-4DF3A83E2BEA}"/>
              </a:ext>
            </a:extLst>
          </p:cNvPr>
          <p:cNvSpPr txBox="1">
            <a:spLocks/>
          </p:cNvSpPr>
          <p:nvPr userDrawn="1"/>
        </p:nvSpPr>
        <p:spPr>
          <a:xfrm>
            <a:off x="35723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</p:spTree>
    <p:extLst>
      <p:ext uri="{BB962C8B-B14F-4D97-AF65-F5344CB8AC3E}">
        <p14:creationId xmlns:p14="http://schemas.microsoft.com/office/powerpoint/2010/main" val="458156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2A1213-0D39-44CC-A03E-46199E60EF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408"/>
          <a:stretch/>
        </p:blipFill>
        <p:spPr bwMode="ltGray">
          <a:xfrm>
            <a:off x="772083" y="1"/>
            <a:ext cx="11419916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1EF1B7-109E-4401-AFD3-9C95C9EF7C3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0" y="0"/>
            <a:ext cx="12185653" cy="6850114"/>
          </a:xfrm>
          <a:prstGeom prst="rect">
            <a:avLst/>
          </a:prstGeom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EE159DB0-F4E0-45D6-875C-CB8BD95C2DA1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F7B6463-FF34-4769-B0BA-88584984E6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1D224C5-58D5-4574-8355-D039DA1BD98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84E2F95-93FE-43E5-BFD8-C4CC53A42E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CE43A2B-286F-4C10-8813-C9473DD61AD3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</p:spTree>
    <p:extLst>
      <p:ext uri="{BB962C8B-B14F-4D97-AF65-F5344CB8AC3E}">
        <p14:creationId xmlns:p14="http://schemas.microsoft.com/office/powerpoint/2010/main" val="42083097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ABC91-43DD-418A-A587-E866BC494D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4120210" y="0"/>
            <a:ext cx="8071792" cy="68501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AF6DFA-C037-448A-9445-CB5AC85B15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0" y="0"/>
            <a:ext cx="12185653" cy="68501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0DD2EED-5EAE-47F7-BD10-C36F4DC77D13}"/>
              </a:ext>
            </a:extLst>
          </p:cNvPr>
          <p:cNvSpPr/>
          <p:nvPr userDrawn="1"/>
        </p:nvSpPr>
        <p:spPr>
          <a:xfrm>
            <a:off x="9691372" y="4396376"/>
            <a:ext cx="2498734" cy="2453736"/>
          </a:xfrm>
          <a:prstGeom prst="rect">
            <a:avLst/>
          </a:prstGeom>
          <a:gradFill>
            <a:gsLst>
              <a:gs pos="34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2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88">
              <a:solidFill>
                <a:schemeClr val="tx1"/>
              </a:solidFill>
            </a:endParaRP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EE159DB0-F4E0-45D6-875C-CB8BD95C2DA1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F7B6463-FF34-4769-B0BA-88584984E6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1D224C5-58D5-4574-8355-D039DA1BD98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84E2F95-93FE-43E5-BFD8-C4CC53A42E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CE43A2B-286F-4C10-8813-C9473DD61AD3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</p:spTree>
    <p:extLst>
      <p:ext uri="{BB962C8B-B14F-4D97-AF65-F5344CB8AC3E}">
        <p14:creationId xmlns:p14="http://schemas.microsoft.com/office/powerpoint/2010/main" val="3565581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8D9F54B-C67C-48AF-ACF5-1D2F5D3F1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983"/>
          <a:stretch/>
        </p:blipFill>
        <p:spPr bwMode="ltGray">
          <a:xfrm>
            <a:off x="1889609" y="0"/>
            <a:ext cx="10302393" cy="68585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D9BF79-5A09-49B4-A8C2-53A32DCCE1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0" y="0"/>
            <a:ext cx="12185653" cy="68501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0DD2EED-5EAE-47F7-BD10-C36F4DC77D13}"/>
              </a:ext>
            </a:extLst>
          </p:cNvPr>
          <p:cNvSpPr/>
          <p:nvPr userDrawn="1"/>
        </p:nvSpPr>
        <p:spPr>
          <a:xfrm>
            <a:off x="9691372" y="4396376"/>
            <a:ext cx="2498734" cy="2453736"/>
          </a:xfrm>
          <a:prstGeom prst="rect">
            <a:avLst/>
          </a:prstGeom>
          <a:gradFill>
            <a:gsLst>
              <a:gs pos="34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2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88">
              <a:solidFill>
                <a:schemeClr val="tx1"/>
              </a:solidFill>
            </a:endParaRP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EE159DB0-F4E0-45D6-875C-CB8BD95C2DA1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8F7B6463-FF34-4769-B0BA-88584984E6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1D224C5-58D5-4574-8355-D039DA1BD98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84E2F95-93FE-43E5-BFD8-C4CC53A42E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CE43A2B-286F-4C10-8813-C9473DD61AD3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</p:spTree>
    <p:extLst>
      <p:ext uri="{BB962C8B-B14F-4D97-AF65-F5344CB8AC3E}">
        <p14:creationId xmlns:p14="http://schemas.microsoft.com/office/powerpoint/2010/main" val="164729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7B924E-D527-4C2E-92A9-CCE615EF8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3909564" y="3943"/>
            <a:ext cx="8282436" cy="68501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FE73DF-B986-4CA3-873C-10ABF53E18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White">
          <a:xfrm>
            <a:off x="0" y="0"/>
            <a:ext cx="12185653" cy="68501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0DD2EED-5EAE-47F7-BD10-C36F4DC77D13}"/>
              </a:ext>
            </a:extLst>
          </p:cNvPr>
          <p:cNvSpPr/>
          <p:nvPr userDrawn="1"/>
        </p:nvSpPr>
        <p:spPr>
          <a:xfrm>
            <a:off x="9691372" y="4396376"/>
            <a:ext cx="2498734" cy="2453736"/>
          </a:xfrm>
          <a:prstGeom prst="rect">
            <a:avLst/>
          </a:prstGeom>
          <a:gradFill>
            <a:gsLst>
              <a:gs pos="34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2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88">
              <a:solidFill>
                <a:schemeClr val="tx1"/>
              </a:solidFill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CE43A2B-286F-4C10-8813-C9473DD61AD3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971720-80CD-41D0-8BD6-6FD5AD37D833}"/>
              </a:ext>
            </a:extLst>
          </p:cNvPr>
          <p:cNvSpPr/>
          <p:nvPr userDrawn="1"/>
        </p:nvSpPr>
        <p:spPr>
          <a:xfrm>
            <a:off x="3003342" y="3359902"/>
            <a:ext cx="9188659" cy="3505984"/>
          </a:xfrm>
          <a:prstGeom prst="rect">
            <a:avLst/>
          </a:prstGeom>
          <a:gradFill flip="none" rotWithShape="1">
            <a:gsLst>
              <a:gs pos="21000">
                <a:srgbClr val="2E2E38">
                  <a:alpha val="0"/>
                </a:srgbClr>
              </a:gs>
              <a:gs pos="100000">
                <a:srgbClr val="2E2E38">
                  <a:alpha val="63000"/>
                </a:srgbClr>
              </a:gs>
            </a:gsLst>
            <a:lin ang="54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88">
              <a:solidFill>
                <a:schemeClr val="tx1"/>
              </a:solidFill>
            </a:endParaRP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B6378305-5F39-4007-A225-19E6A4E147F9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9CCDF6FB-FACF-4273-8682-A8F1F11D1A7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7DD4B9-9831-4D2C-9058-FFC289ACE1E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99F07010-AA18-4744-A84C-7FFC96E142E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</p:spTree>
    <p:extLst>
      <p:ext uri="{BB962C8B-B14F-4D97-AF65-F5344CB8AC3E}">
        <p14:creationId xmlns:p14="http://schemas.microsoft.com/office/powerpoint/2010/main" val="661599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C2D296C-B4E3-440D-B3FF-E36068FB43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859"/>
          <a:stretch/>
        </p:blipFill>
        <p:spPr bwMode="ltGray">
          <a:xfrm flipH="1">
            <a:off x="2871369" y="7886"/>
            <a:ext cx="9316843" cy="68501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C54259-BE1B-4043-ACF0-3503827F63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White">
          <a:xfrm>
            <a:off x="0" y="0"/>
            <a:ext cx="12185653" cy="6850114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CE43A2B-286F-4C10-8813-C9473DD61AD3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9B727D-B288-4046-BA38-33545A4A8DFF}"/>
              </a:ext>
            </a:extLst>
          </p:cNvPr>
          <p:cNvSpPr/>
          <p:nvPr userDrawn="1"/>
        </p:nvSpPr>
        <p:spPr>
          <a:xfrm>
            <a:off x="3003342" y="3359902"/>
            <a:ext cx="9188659" cy="3505984"/>
          </a:xfrm>
          <a:prstGeom prst="rect">
            <a:avLst/>
          </a:prstGeom>
          <a:gradFill flip="none" rotWithShape="1">
            <a:gsLst>
              <a:gs pos="21000">
                <a:srgbClr val="2E2E38">
                  <a:alpha val="0"/>
                </a:srgbClr>
              </a:gs>
              <a:gs pos="100000">
                <a:srgbClr val="2E2E38">
                  <a:alpha val="63000"/>
                </a:srgbClr>
              </a:gs>
            </a:gsLst>
            <a:lin ang="54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88">
              <a:solidFill>
                <a:schemeClr val="tx1"/>
              </a:solidFill>
            </a:endParaRP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F9BC7C28-2728-4439-9222-B0028E252CB6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1250" y="6356351"/>
            <a:ext cx="303055" cy="311150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82613844-C020-41D4-82D7-959C4EA50F8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C93D654-7909-4F94-998F-7E0108829EB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8F1138AA-6F56-4CF2-874A-6B11718CB3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</p:spTree>
    <p:extLst>
      <p:ext uri="{BB962C8B-B14F-4D97-AF65-F5344CB8AC3E}">
        <p14:creationId xmlns:p14="http://schemas.microsoft.com/office/powerpoint/2010/main" val="4176387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8336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381288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801240"/>
            <a:ext cx="957942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P Hub Europ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9866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DAA4E7-4D3E-49E3-8071-0BAECD77F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00046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5" imgH="416" progId="TCLayout.ActiveDocument.1">
                  <p:embed/>
                </p:oleObj>
              </mc:Choice>
              <mc:Fallback>
                <p:oleObj name="think-cell Slide" r:id="rId18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DAA4E7-4D3E-49E3-8071-0BAECD77F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1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1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A5DE68D-F0DD-46BD-866C-DA847765128A}"/>
              </a:ext>
            </a:extLst>
          </p:cNvPr>
          <p:cNvGrpSpPr/>
          <p:nvPr userDrawn="1"/>
        </p:nvGrpSpPr>
        <p:grpSpPr bwMode="invGray">
          <a:xfrm>
            <a:off x="11281250" y="6356351"/>
            <a:ext cx="303055" cy="311150"/>
            <a:chOff x="12432878" y="7009642"/>
            <a:chExt cx="333992" cy="343129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432878" y="7009642"/>
              <a:ext cx="333992" cy="122546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434627" y="7182957"/>
              <a:ext cx="136395" cy="169814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548289" y="7182957"/>
              <a:ext cx="167870" cy="169814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6"/>
            </a:p>
          </p:txBody>
        </p:sp>
      </p:grp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799"/>
              <a:t>Page </a:t>
            </a:r>
            <a:fld id="{D5B76411-544C-4F9A-8EDE-9EEB2BD21F95}" type="slidenum">
              <a:rPr lang="en-IN" sz="799" smtClean="0"/>
              <a:t>‹#›</a:t>
            </a:fld>
            <a:endParaRPr sz="799"/>
          </a:p>
        </p:txBody>
      </p:sp>
    </p:spTree>
    <p:extLst>
      <p:ext uri="{BB962C8B-B14F-4D97-AF65-F5344CB8AC3E}">
        <p14:creationId xmlns:p14="http://schemas.microsoft.com/office/powerpoint/2010/main" val="291066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hf sldNum="0" hdr="0" dt="0"/>
  <p:txStyles>
    <p:titleStyle>
      <a:lvl1pPr algn="l" defTabSz="912634" rtl="0" eaLnBrk="1" latinLnBrk="0" hangingPunct="1">
        <a:lnSpc>
          <a:spcPct val="85000"/>
        </a:lnSpc>
        <a:spcBef>
          <a:spcPct val="0"/>
        </a:spcBef>
        <a:buNone/>
        <a:defRPr sz="2396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5928" indent="-355928" algn="l" defTabSz="9126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6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1854" indent="-355928" algn="l" defTabSz="9126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6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7781" indent="-355928" algn="l" defTabSz="9126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3710" indent="-355928" algn="l" defTabSz="9126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79636" indent="-355928" algn="l" defTabSz="9126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09744" indent="-228159" algn="l" defTabSz="912634" rtl="0" eaLnBrk="1" latinLnBrk="0" hangingPunct="1">
        <a:spcBef>
          <a:spcPct val="20000"/>
        </a:spcBef>
        <a:buFont typeface="Arial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6pPr>
      <a:lvl7pPr marL="2966061" indent="-228159" algn="l" defTabSz="912634" rtl="0" eaLnBrk="1" latinLnBrk="0" hangingPunct="1">
        <a:spcBef>
          <a:spcPct val="20000"/>
        </a:spcBef>
        <a:buFont typeface="Arial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7pPr>
      <a:lvl8pPr marL="3422378" indent="-228159" algn="l" defTabSz="912634" rtl="0" eaLnBrk="1" latinLnBrk="0" hangingPunct="1">
        <a:spcBef>
          <a:spcPct val="20000"/>
        </a:spcBef>
        <a:buFont typeface="Arial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8pPr>
      <a:lvl9pPr marL="3878696" indent="-228159" algn="l" defTabSz="912634" rtl="0" eaLnBrk="1" latinLnBrk="0" hangingPunct="1">
        <a:spcBef>
          <a:spcPct val="20000"/>
        </a:spcBef>
        <a:buFont typeface="Arial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316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634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951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5269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586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902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4220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50536" algn="l" defTabSz="912634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C0D346-8F37-CFA5-921D-8F8A76836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l-PL" dirty="0">
                <a:solidFill>
                  <a:srgbClr val="FFFFFF"/>
                </a:solidFill>
              </a:rPr>
              <a:t>My Portfolio Projec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48F08E-E34D-67E0-7328-678AAFB04853}"/>
              </a:ext>
            </a:extLst>
          </p:cNvPr>
          <p:cNvSpPr/>
          <p:nvPr/>
        </p:nvSpPr>
        <p:spPr>
          <a:xfrm>
            <a:off x="10708640" y="6085840"/>
            <a:ext cx="1036320" cy="6908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022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6AFEF97-89B7-7460-D3FD-43B07C107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638" y="175633"/>
            <a:ext cx="9316603" cy="5619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27A5B02-E701-734A-CFF1-55BF7F5DB372}"/>
              </a:ext>
            </a:extLst>
          </p:cNvPr>
          <p:cNvSpPr txBox="1"/>
          <p:nvPr/>
        </p:nvSpPr>
        <p:spPr>
          <a:xfrm>
            <a:off x="3046320" y="973168"/>
            <a:ext cx="4533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We didn’t know SWITCH back in a day </a:t>
            </a:r>
            <a:r>
              <a:rPr lang="pl-PL" dirty="0">
                <a:sym typeface="Wingdings" panose="05000000000000000000" pitchFamily="2" charset="2"/>
              </a:rPr>
              <a:t></a:t>
            </a:r>
            <a:endParaRPr lang="pl-PL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F465B05-8594-9586-B278-CE7035CB38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213" y="973168"/>
            <a:ext cx="6572743" cy="31835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80757BD-8088-899E-61B9-C65DC248DE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638" y="4491741"/>
            <a:ext cx="10848975" cy="4286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AC1AF13-6904-07A6-A1EF-42896CE231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638" y="5153807"/>
            <a:ext cx="6943725" cy="4000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A6ECA60-4B80-C771-78E2-4576A5B36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638" y="973168"/>
            <a:ext cx="4088882" cy="318353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1C2ABC0-060E-AD1B-D72F-E9C161A0086E}"/>
              </a:ext>
            </a:extLst>
          </p:cNvPr>
          <p:cNvSpPr/>
          <p:nvPr/>
        </p:nvSpPr>
        <p:spPr>
          <a:xfrm>
            <a:off x="1960880" y="254000"/>
            <a:ext cx="6096000" cy="17272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597FC6-E543-5CD7-90E5-1578D5C56BE3}"/>
              </a:ext>
            </a:extLst>
          </p:cNvPr>
          <p:cNvSpPr/>
          <p:nvPr/>
        </p:nvSpPr>
        <p:spPr>
          <a:xfrm>
            <a:off x="11139956" y="6289040"/>
            <a:ext cx="594844" cy="4876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9692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5E2A8B-5B43-F309-8DC9-3328A70D5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1079"/>
            <a:ext cx="12192000" cy="647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001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6AB7062-C65E-1F4E-9F5D-D3E575F8EB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3442"/>
            <a:ext cx="12192000" cy="639111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B069D93-D49C-1E22-E95F-6088C59352A1}"/>
              </a:ext>
            </a:extLst>
          </p:cNvPr>
          <p:cNvSpPr/>
          <p:nvPr/>
        </p:nvSpPr>
        <p:spPr>
          <a:xfrm>
            <a:off x="2483316" y="4692315"/>
            <a:ext cx="750771" cy="144379"/>
          </a:xfrm>
          <a:prstGeom prst="rect">
            <a:avLst/>
          </a:prstGeom>
          <a:solidFill>
            <a:srgbClr val="2E2E3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6782ED-B12A-6898-FEC4-D1A8BFAE0492}"/>
              </a:ext>
            </a:extLst>
          </p:cNvPr>
          <p:cNvSpPr/>
          <p:nvPr/>
        </p:nvSpPr>
        <p:spPr>
          <a:xfrm>
            <a:off x="4445266" y="5739864"/>
            <a:ext cx="1445395" cy="121921"/>
          </a:xfrm>
          <a:prstGeom prst="rect">
            <a:avLst/>
          </a:prstGeom>
          <a:solidFill>
            <a:srgbClr val="2E2E3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7724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9C5E8E-1E45-A1F4-FAB3-F2C64A1CA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5274"/>
            <a:ext cx="12192000" cy="64916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76FDC61-CE2D-7DE8-5A9D-D92C38510BD5}"/>
              </a:ext>
            </a:extLst>
          </p:cNvPr>
          <p:cNvSpPr/>
          <p:nvPr/>
        </p:nvSpPr>
        <p:spPr>
          <a:xfrm>
            <a:off x="2079057" y="2791326"/>
            <a:ext cx="2396690" cy="360947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5291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03D676F-1B3C-686B-A052-F242718992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33151"/>
            <a:ext cx="12192000" cy="49916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F31F4BC-2334-0362-0C9B-CDE775A853A5}"/>
              </a:ext>
            </a:extLst>
          </p:cNvPr>
          <p:cNvSpPr/>
          <p:nvPr/>
        </p:nvSpPr>
        <p:spPr>
          <a:xfrm>
            <a:off x="4533499" y="1078029"/>
            <a:ext cx="2050181" cy="173255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3F260E7-2AA4-8B18-6488-8957A0B006C6}"/>
              </a:ext>
            </a:extLst>
          </p:cNvPr>
          <p:cNvSpPr/>
          <p:nvPr/>
        </p:nvSpPr>
        <p:spPr>
          <a:xfrm>
            <a:off x="11125200" y="6299200"/>
            <a:ext cx="680720" cy="46736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5698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93E900-F050-06A7-7CC8-070A214A8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417"/>
            <a:ext cx="12192000" cy="669916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B7F10B-6507-7C99-0B8C-8B85BEBCDCFE}"/>
              </a:ext>
            </a:extLst>
          </p:cNvPr>
          <p:cNvSpPr/>
          <p:nvPr/>
        </p:nvSpPr>
        <p:spPr>
          <a:xfrm>
            <a:off x="3619099" y="1626669"/>
            <a:ext cx="2589196" cy="134754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B8DC0E-3614-5B28-8058-9C6BFBD66678}"/>
              </a:ext>
            </a:extLst>
          </p:cNvPr>
          <p:cNvSpPr/>
          <p:nvPr/>
        </p:nvSpPr>
        <p:spPr>
          <a:xfrm>
            <a:off x="10299032" y="1761423"/>
            <a:ext cx="1432560" cy="198922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E026DB-24BD-28F2-10A3-7278EE4C9C26}"/>
              </a:ext>
            </a:extLst>
          </p:cNvPr>
          <p:cNvSpPr/>
          <p:nvPr/>
        </p:nvSpPr>
        <p:spPr>
          <a:xfrm>
            <a:off x="6095999" y="1984408"/>
            <a:ext cx="3895023" cy="198922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0563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985B2-288A-FD22-730F-76C5A5736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AN UTILIZATION PROJEC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E88E35-1ED2-FAB3-B558-F3057C16EF25}"/>
              </a:ext>
            </a:extLst>
          </p:cNvPr>
          <p:cNvSpPr/>
          <p:nvPr/>
        </p:nvSpPr>
        <p:spPr>
          <a:xfrm>
            <a:off x="10840720" y="6014720"/>
            <a:ext cx="904240" cy="75184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06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3B4C02AF-C956-888F-2CA0-18FD826B8268}"/>
              </a:ext>
            </a:extLst>
          </p:cNvPr>
          <p:cNvSpPr/>
          <p:nvPr/>
        </p:nvSpPr>
        <p:spPr>
          <a:xfrm>
            <a:off x="6495778" y="1240714"/>
            <a:ext cx="5564039" cy="5533724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  <a:ln w="9525">
            <a:solidFill>
              <a:srgbClr val="4646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23C0D53-5308-4C2D-A869-6FA5C58ADBEA}"/>
              </a:ext>
            </a:extLst>
          </p:cNvPr>
          <p:cNvSpPr/>
          <p:nvPr/>
        </p:nvSpPr>
        <p:spPr>
          <a:xfrm>
            <a:off x="6904136" y="5056578"/>
            <a:ext cx="4853670" cy="1036632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C280B06-2ADE-A1D8-822B-A12F7D3C30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1411" y="958516"/>
            <a:ext cx="5692397" cy="5533724"/>
          </a:xfrm>
        </p:spPr>
        <p:txBody>
          <a:bodyPr/>
          <a:lstStyle/>
          <a:p>
            <a:pPr marL="0" indent="0" algn="ctr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r>
              <a:rPr lang="pl-PL" sz="1400" b="1" dirty="0">
                <a:solidFill>
                  <a:schemeClr val="tx2"/>
                </a:solidFill>
                <a:latin typeface="+mj-lt"/>
              </a:rPr>
              <a:t>Master </a:t>
            </a:r>
            <a:r>
              <a:rPr lang="en-US" sz="1400" b="1" dirty="0">
                <a:solidFill>
                  <a:schemeClr val="tx2"/>
                </a:solidFill>
                <a:latin typeface="+mj-lt"/>
              </a:rPr>
              <a:t>Data record</a:t>
            </a:r>
            <a:r>
              <a:rPr lang="pl-PL" sz="1400" b="1" dirty="0">
                <a:solidFill>
                  <a:schemeClr val="tx2"/>
                </a:solidFill>
                <a:latin typeface="+mj-lt"/>
              </a:rPr>
              <a:t>s available in the dashboard</a:t>
            </a: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en-US" sz="13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endParaRPr lang="pl-PL" sz="1300" b="1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r>
              <a:rPr lang="pl-PL" sz="1100" b="1" dirty="0">
                <a:solidFill>
                  <a:schemeClr val="tx2"/>
                </a:solidFill>
                <a:latin typeface="+mj-lt"/>
              </a:rPr>
              <a:t>PURPOSE </a:t>
            </a:r>
            <a:r>
              <a:rPr lang="pl-PL" sz="1100" b="1" dirty="0">
                <a:latin typeface="+mj-lt"/>
              </a:rPr>
              <a:t>- </a:t>
            </a:r>
            <a:r>
              <a:rPr lang="en-US" sz="1100" b="1" dirty="0">
                <a:latin typeface="+mj-lt"/>
              </a:rPr>
              <a:t>e</a:t>
            </a:r>
            <a:r>
              <a:rPr lang="en-US" sz="1100" dirty="0">
                <a:latin typeface="+mj-lt"/>
              </a:rPr>
              <a:t>nable professionals to track and identify skilled resources using more than one dimension in order to reduce</a:t>
            </a:r>
            <a:r>
              <a:rPr lang="pl-PL" sz="1100" dirty="0">
                <a:latin typeface="+mj-lt"/>
              </a:rPr>
              <a:t> search</a:t>
            </a:r>
            <a:r>
              <a:rPr lang="en-US" sz="1100" dirty="0">
                <a:latin typeface="+mj-lt"/>
              </a:rPr>
              <a:t> time and the manual effort</a:t>
            </a:r>
          </a:p>
          <a:p>
            <a:pPr marL="0" indent="0" algn="just">
              <a:lnSpc>
                <a:spcPts val="1798"/>
              </a:lnSpc>
              <a:spcBef>
                <a:spcPts val="0"/>
              </a:spcBef>
              <a:spcAft>
                <a:spcPts val="1198"/>
              </a:spcAft>
              <a:buNone/>
            </a:pPr>
            <a:r>
              <a:rPr lang="en-US" sz="1100" b="1" dirty="0">
                <a:solidFill>
                  <a:schemeClr val="tx2"/>
                </a:solidFill>
                <a:latin typeface="+mj-lt"/>
              </a:rPr>
              <a:t>NOTE</a:t>
            </a:r>
            <a:r>
              <a:rPr lang="pl-PL" sz="1100" b="1" dirty="0">
                <a:solidFill>
                  <a:schemeClr val="tx2"/>
                </a:solidFill>
                <a:latin typeface="+mj-lt"/>
              </a:rPr>
              <a:t> -</a:t>
            </a:r>
            <a:r>
              <a:rPr lang="en-US" sz="1100" b="1" dirty="0">
                <a:solidFill>
                  <a:schemeClr val="tx2"/>
                </a:solidFill>
                <a:latin typeface="+mj-lt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esource Managers a</a:t>
            </a:r>
            <a:r>
              <a:rPr lang="en-US" sz="1100" dirty="0">
                <a:latin typeface="+mj-lt"/>
              </a:rPr>
              <a:t>t Regional/Country Level should be </a:t>
            </a:r>
            <a:r>
              <a:rPr lang="pl-PL" sz="1100" dirty="0">
                <a:latin typeface="+mj-lt"/>
              </a:rPr>
              <a:t>always </a:t>
            </a:r>
            <a:r>
              <a:rPr lang="en-US" sz="1100" dirty="0">
                <a:latin typeface="+mj-lt"/>
              </a:rPr>
              <a:t>contacted to validate availability and provide additional updated info needed (e.g. language, availability to travel</a:t>
            </a:r>
            <a:r>
              <a:rPr lang="pl-PL" sz="1100" dirty="0">
                <a:latin typeface="+mj-lt"/>
              </a:rPr>
              <a:t>, etc.</a:t>
            </a:r>
            <a:endParaRPr lang="en-US" sz="1100" dirty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126B30-F748-492F-A19B-5549C2246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400" dirty="0">
                <a:solidFill>
                  <a:prstClr val="white"/>
                </a:solidFill>
                <a:latin typeface="EYInterstate Light"/>
                <a:cs typeface="EYInterstate Light"/>
              </a:rPr>
              <a:t>SAP Practice Europe - Supply Capabilities</a:t>
            </a:r>
            <a:r>
              <a:rPr lang="it-IT" sz="2400" dirty="0">
                <a:solidFill>
                  <a:prstClr val="white"/>
                </a:solidFill>
                <a:latin typeface="EYInterstate Light"/>
                <a:cs typeface="EYInterstate Light"/>
              </a:rPr>
              <a:t> </a:t>
            </a:r>
            <a:r>
              <a:rPr lang="pl-PL" sz="2400" dirty="0">
                <a:solidFill>
                  <a:prstClr val="white"/>
                </a:solidFill>
                <a:latin typeface="EYInterstate Light"/>
                <a:cs typeface="EYInterstate Light"/>
              </a:rPr>
              <a:t>dashboard </a:t>
            </a:r>
            <a:endParaRPr lang="en-IN" sz="2396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290C7F-E8A6-49D5-B2A0-5E345E0DD619}"/>
              </a:ext>
            </a:extLst>
          </p:cNvPr>
          <p:cNvSpPr txBox="1"/>
          <p:nvPr/>
        </p:nvSpPr>
        <p:spPr>
          <a:xfrm>
            <a:off x="6885378" y="4644932"/>
            <a:ext cx="4853671" cy="308869"/>
          </a:xfrm>
          <a:prstGeom prst="rect">
            <a:avLst/>
          </a:prstGeom>
          <a:solidFill>
            <a:schemeClr val="tx2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yDemand EMEIA tool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3871D4-312B-46A5-8EC2-5BB5A0A9733F}"/>
              </a:ext>
            </a:extLst>
          </p:cNvPr>
          <p:cNvSpPr txBox="1"/>
          <p:nvPr/>
        </p:nvSpPr>
        <p:spPr>
          <a:xfrm>
            <a:off x="6895341" y="1816550"/>
            <a:ext cx="1324006" cy="36538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19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etain</a:t>
            </a:r>
            <a:endParaRPr kumimoji="0" lang="en-IN" sz="9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E33B3D7-2F16-45AA-BA40-456DEE330496}"/>
              </a:ext>
            </a:extLst>
          </p:cNvPr>
          <p:cNvSpPr txBox="1"/>
          <p:nvPr/>
        </p:nvSpPr>
        <p:spPr>
          <a:xfrm>
            <a:off x="6963255" y="5871969"/>
            <a:ext cx="4541315" cy="221241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2E38">
                  <a:lumMod val="20000"/>
                  <a:lumOff val="8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emand intake </a:t>
            </a: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| </a:t>
            </a: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users workflow </a:t>
            </a: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| </a:t>
            </a: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esource allocation | reporting</a:t>
            </a:r>
            <a:endParaRPr kumimoji="0" lang="en-IN" sz="1198" b="0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BB08241-413D-40B1-9039-9DD948CD43A3}"/>
              </a:ext>
            </a:extLst>
          </p:cNvPr>
          <p:cNvSpPr txBox="1"/>
          <p:nvPr/>
        </p:nvSpPr>
        <p:spPr>
          <a:xfrm>
            <a:off x="8578902" y="1816550"/>
            <a:ext cx="1324006" cy="36538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19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xcel</a:t>
            </a:r>
            <a:endParaRPr kumimoji="0" lang="en-IN" sz="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8C52FA-2D46-4215-BB63-614E47DA20C5}"/>
              </a:ext>
            </a:extLst>
          </p:cNvPr>
          <p:cNvSpPr txBox="1"/>
          <p:nvPr/>
        </p:nvSpPr>
        <p:spPr>
          <a:xfrm>
            <a:off x="10262462" y="1816550"/>
            <a:ext cx="1324006" cy="36538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19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SuccessFactors</a:t>
            </a:r>
            <a:endParaRPr kumimoji="0" lang="en-IN" sz="1198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4A432EE-4A2B-4546-BAF7-1FB003D84B89}"/>
              </a:ext>
            </a:extLst>
          </p:cNvPr>
          <p:cNvSpPr txBox="1"/>
          <p:nvPr/>
        </p:nvSpPr>
        <p:spPr>
          <a:xfrm>
            <a:off x="6856861" y="1439011"/>
            <a:ext cx="4754104" cy="311949"/>
          </a:xfrm>
          <a:prstGeom prst="rect">
            <a:avLst/>
          </a:prstGeom>
          <a:solidFill>
            <a:schemeClr val="tx2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at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</a:t>
            </a:r>
            <a:r>
              <a:rPr kumimoji="0" lang="pl-PL" sz="14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ources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19AF1A1-45E6-4E42-81CF-8A7F8526E72A}"/>
              </a:ext>
            </a:extLst>
          </p:cNvPr>
          <p:cNvSpPr/>
          <p:nvPr/>
        </p:nvSpPr>
        <p:spPr>
          <a:xfrm>
            <a:off x="6856862" y="1771591"/>
            <a:ext cx="4754103" cy="482436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69065DB7-B83B-416C-8B87-23A7F946FB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78105" y="5336313"/>
            <a:ext cx="676700" cy="456724"/>
          </a:xfrm>
          <a:custGeom>
            <a:avLst/>
            <a:gdLst>
              <a:gd name="T0" fmla="*/ 2147483647 w 6736"/>
              <a:gd name="T1" fmla="*/ 2147483647 h 4541"/>
              <a:gd name="T2" fmla="*/ 2147483647 w 6736"/>
              <a:gd name="T3" fmla="*/ 2147483647 h 4541"/>
              <a:gd name="T4" fmla="*/ 2147483647 w 6736"/>
              <a:gd name="T5" fmla="*/ 2147483647 h 4541"/>
              <a:gd name="T6" fmla="*/ 2147483647 w 6736"/>
              <a:gd name="T7" fmla="*/ 2147483647 h 4541"/>
              <a:gd name="T8" fmla="*/ 2147483647 w 6736"/>
              <a:gd name="T9" fmla="*/ 2147483647 h 4541"/>
              <a:gd name="T10" fmla="*/ 2147483647 w 6736"/>
              <a:gd name="T11" fmla="*/ 2147483647 h 4541"/>
              <a:gd name="T12" fmla="*/ 2147483647 w 6736"/>
              <a:gd name="T13" fmla="*/ 2147483647 h 4541"/>
              <a:gd name="T14" fmla="*/ 2147483647 w 6736"/>
              <a:gd name="T15" fmla="*/ 2147483647 h 4541"/>
              <a:gd name="T16" fmla="*/ 2147483647 w 6736"/>
              <a:gd name="T17" fmla="*/ 2147483647 h 4541"/>
              <a:gd name="T18" fmla="*/ 2147483647 w 6736"/>
              <a:gd name="T19" fmla="*/ 2147483647 h 4541"/>
              <a:gd name="T20" fmla="*/ 2147483647 w 6736"/>
              <a:gd name="T21" fmla="*/ 2147483647 h 4541"/>
              <a:gd name="T22" fmla="*/ 2147483647 w 6736"/>
              <a:gd name="T23" fmla="*/ 2147483647 h 4541"/>
              <a:gd name="T24" fmla="*/ 2147483647 w 6736"/>
              <a:gd name="T25" fmla="*/ 2147483647 h 4541"/>
              <a:gd name="T26" fmla="*/ 2147483647 w 6736"/>
              <a:gd name="T27" fmla="*/ 2147483647 h 4541"/>
              <a:gd name="T28" fmla="*/ 2147483647 w 6736"/>
              <a:gd name="T29" fmla="*/ 2147483647 h 4541"/>
              <a:gd name="T30" fmla="*/ 2147483647 w 6736"/>
              <a:gd name="T31" fmla="*/ 2147483647 h 4541"/>
              <a:gd name="T32" fmla="*/ 2147483647 w 6736"/>
              <a:gd name="T33" fmla="*/ 2147483647 h 4541"/>
              <a:gd name="T34" fmla="*/ 2147483647 w 6736"/>
              <a:gd name="T35" fmla="*/ 2147483647 h 4541"/>
              <a:gd name="T36" fmla="*/ 2147483647 w 6736"/>
              <a:gd name="T37" fmla="*/ 2147483647 h 4541"/>
              <a:gd name="T38" fmla="*/ 2147483647 w 6736"/>
              <a:gd name="T39" fmla="*/ 2147483647 h 4541"/>
              <a:gd name="T40" fmla="*/ 2147483647 w 6736"/>
              <a:gd name="T41" fmla="*/ 2147483647 h 4541"/>
              <a:gd name="T42" fmla="*/ 2147483647 w 6736"/>
              <a:gd name="T43" fmla="*/ 2147483647 h 4541"/>
              <a:gd name="T44" fmla="*/ 2147483647 w 6736"/>
              <a:gd name="T45" fmla="*/ 2147483647 h 4541"/>
              <a:gd name="T46" fmla="*/ 2147483647 w 6736"/>
              <a:gd name="T47" fmla="*/ 2147483647 h 4541"/>
              <a:gd name="T48" fmla="*/ 2147483647 w 6736"/>
              <a:gd name="T49" fmla="*/ 2147483647 h 4541"/>
              <a:gd name="T50" fmla="*/ 2147483647 w 6736"/>
              <a:gd name="T51" fmla="*/ 2147483647 h 4541"/>
              <a:gd name="T52" fmla="*/ 2147483647 w 6736"/>
              <a:gd name="T53" fmla="*/ 2147483647 h 4541"/>
              <a:gd name="T54" fmla="*/ 2147483647 w 6736"/>
              <a:gd name="T55" fmla="*/ 2147483647 h 4541"/>
              <a:gd name="T56" fmla="*/ 2147483647 w 6736"/>
              <a:gd name="T57" fmla="*/ 2147483647 h 4541"/>
              <a:gd name="T58" fmla="*/ 2147483647 w 6736"/>
              <a:gd name="T59" fmla="*/ 2147483647 h 4541"/>
              <a:gd name="T60" fmla="*/ 2147483647 w 6736"/>
              <a:gd name="T61" fmla="*/ 2147483647 h 4541"/>
              <a:gd name="T62" fmla="*/ 2147483647 w 6736"/>
              <a:gd name="T63" fmla="*/ 2147483647 h 4541"/>
              <a:gd name="T64" fmla="*/ 2147483647 w 6736"/>
              <a:gd name="T65" fmla="*/ 2147483647 h 4541"/>
              <a:gd name="T66" fmla="*/ 2147483647 w 6736"/>
              <a:gd name="T67" fmla="*/ 2147483647 h 4541"/>
              <a:gd name="T68" fmla="*/ 2147483647 w 6736"/>
              <a:gd name="T69" fmla="*/ 2147483647 h 4541"/>
              <a:gd name="T70" fmla="*/ 2147483647 w 6736"/>
              <a:gd name="T71" fmla="*/ 2147483647 h 4541"/>
              <a:gd name="T72" fmla="*/ 2147483647 w 6736"/>
              <a:gd name="T73" fmla="*/ 2147483647 h 4541"/>
              <a:gd name="T74" fmla="*/ 2147483647 w 6736"/>
              <a:gd name="T75" fmla="*/ 2147483647 h 4541"/>
              <a:gd name="T76" fmla="*/ 2147483647 w 6736"/>
              <a:gd name="T77" fmla="*/ 2147483647 h 4541"/>
              <a:gd name="T78" fmla="*/ 2147483647 w 6736"/>
              <a:gd name="T79" fmla="*/ 2147483647 h 4541"/>
              <a:gd name="T80" fmla="*/ 2147483647 w 6736"/>
              <a:gd name="T81" fmla="*/ 2147483647 h 4541"/>
              <a:gd name="T82" fmla="*/ 2147483647 w 6736"/>
              <a:gd name="T83" fmla="*/ 2147483647 h 4541"/>
              <a:gd name="T84" fmla="*/ 2147483647 w 6736"/>
              <a:gd name="T85" fmla="*/ 2147483647 h 4541"/>
              <a:gd name="T86" fmla="*/ 2147483647 w 6736"/>
              <a:gd name="T87" fmla="*/ 2147483647 h 4541"/>
              <a:gd name="T88" fmla="*/ 2147483647 w 6736"/>
              <a:gd name="T89" fmla="*/ 2147483647 h 4541"/>
              <a:gd name="T90" fmla="*/ 2147483647 w 6736"/>
              <a:gd name="T91" fmla="*/ 2147483647 h 4541"/>
              <a:gd name="T92" fmla="*/ 2147483647 w 6736"/>
              <a:gd name="T93" fmla="*/ 2147483647 h 4541"/>
              <a:gd name="T94" fmla="*/ 2147483647 w 6736"/>
              <a:gd name="T95" fmla="*/ 2147483647 h 4541"/>
              <a:gd name="T96" fmla="*/ 2147483647 w 6736"/>
              <a:gd name="T97" fmla="*/ 2147483647 h 4541"/>
              <a:gd name="T98" fmla="*/ 2147483647 w 6736"/>
              <a:gd name="T99" fmla="*/ 2147483647 h 4541"/>
              <a:gd name="T100" fmla="*/ 2147483647 w 6736"/>
              <a:gd name="T101" fmla="*/ 2147483647 h 4541"/>
              <a:gd name="T102" fmla="*/ 2147483647 w 6736"/>
              <a:gd name="T103" fmla="*/ 2147483647 h 4541"/>
              <a:gd name="T104" fmla="*/ 2147483647 w 6736"/>
              <a:gd name="T105" fmla="*/ 2147483647 h 4541"/>
              <a:gd name="T106" fmla="*/ 2147483647 w 6736"/>
              <a:gd name="T107" fmla="*/ 2147483647 h 4541"/>
              <a:gd name="T108" fmla="*/ 2147483647 w 6736"/>
              <a:gd name="T109" fmla="*/ 2147483647 h 4541"/>
              <a:gd name="T110" fmla="*/ 2147483647 w 6736"/>
              <a:gd name="T111" fmla="*/ 2147483647 h 4541"/>
              <a:gd name="T112" fmla="*/ 2147483647 w 6736"/>
              <a:gd name="T113" fmla="*/ 2147483647 h 4541"/>
              <a:gd name="T114" fmla="*/ 2147483647 w 6736"/>
              <a:gd name="T115" fmla="*/ 2147483647 h 4541"/>
              <a:gd name="T116" fmla="*/ 2147483647 w 6736"/>
              <a:gd name="T117" fmla="*/ 2147483647 h 4541"/>
              <a:gd name="T118" fmla="*/ 2147483647 w 6736"/>
              <a:gd name="T119" fmla="*/ 2147483647 h 4541"/>
              <a:gd name="T120" fmla="*/ 2147483647 w 6736"/>
              <a:gd name="T121" fmla="*/ 2147483647 h 4541"/>
              <a:gd name="T122" fmla="*/ 2147483647 w 6736"/>
              <a:gd name="T123" fmla="*/ 2147483647 h 4541"/>
              <a:gd name="T124" fmla="*/ 2147483647 w 6736"/>
              <a:gd name="T125" fmla="*/ 2147483647 h 45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36"/>
              <a:gd name="T190" fmla="*/ 0 h 4541"/>
              <a:gd name="T191" fmla="*/ 6736 w 6736"/>
              <a:gd name="T192" fmla="*/ 4541 h 45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36" h="4541">
                <a:moveTo>
                  <a:pt x="4752" y="4109"/>
                </a:moveTo>
                <a:lnTo>
                  <a:pt x="4908" y="4050"/>
                </a:lnTo>
                <a:lnTo>
                  <a:pt x="5206" y="4117"/>
                </a:lnTo>
                <a:lnTo>
                  <a:pt x="5204" y="4187"/>
                </a:lnTo>
                <a:lnTo>
                  <a:pt x="5157" y="4175"/>
                </a:lnTo>
                <a:lnTo>
                  <a:pt x="5157" y="4194"/>
                </a:lnTo>
                <a:lnTo>
                  <a:pt x="4779" y="4194"/>
                </a:lnTo>
                <a:lnTo>
                  <a:pt x="4779" y="4153"/>
                </a:lnTo>
                <a:lnTo>
                  <a:pt x="4733" y="4163"/>
                </a:lnTo>
                <a:lnTo>
                  <a:pt x="4725" y="4165"/>
                </a:lnTo>
                <a:lnTo>
                  <a:pt x="4717" y="4165"/>
                </a:lnTo>
                <a:lnTo>
                  <a:pt x="4708" y="4163"/>
                </a:lnTo>
                <a:lnTo>
                  <a:pt x="4701" y="4160"/>
                </a:lnTo>
                <a:lnTo>
                  <a:pt x="4695" y="4155"/>
                </a:lnTo>
                <a:lnTo>
                  <a:pt x="4688" y="4150"/>
                </a:lnTo>
                <a:lnTo>
                  <a:pt x="4684" y="4143"/>
                </a:lnTo>
                <a:lnTo>
                  <a:pt x="4679" y="4134"/>
                </a:lnTo>
                <a:lnTo>
                  <a:pt x="4678" y="4126"/>
                </a:lnTo>
                <a:lnTo>
                  <a:pt x="4678" y="4117"/>
                </a:lnTo>
                <a:lnTo>
                  <a:pt x="4678" y="4107"/>
                </a:lnTo>
                <a:lnTo>
                  <a:pt x="4679" y="4099"/>
                </a:lnTo>
                <a:lnTo>
                  <a:pt x="4683" y="4089"/>
                </a:lnTo>
                <a:lnTo>
                  <a:pt x="4689" y="4078"/>
                </a:lnTo>
                <a:lnTo>
                  <a:pt x="4696" y="4070"/>
                </a:lnTo>
                <a:lnTo>
                  <a:pt x="4706" y="4061"/>
                </a:lnTo>
                <a:lnTo>
                  <a:pt x="4855" y="3941"/>
                </a:lnTo>
                <a:lnTo>
                  <a:pt x="4866" y="3933"/>
                </a:lnTo>
                <a:lnTo>
                  <a:pt x="4878" y="3928"/>
                </a:lnTo>
                <a:lnTo>
                  <a:pt x="4891" y="3923"/>
                </a:lnTo>
                <a:lnTo>
                  <a:pt x="4905" y="3919"/>
                </a:lnTo>
                <a:lnTo>
                  <a:pt x="4916" y="3916"/>
                </a:lnTo>
                <a:lnTo>
                  <a:pt x="4932" y="3916"/>
                </a:lnTo>
                <a:lnTo>
                  <a:pt x="4961" y="3914"/>
                </a:lnTo>
                <a:lnTo>
                  <a:pt x="5277" y="3914"/>
                </a:lnTo>
                <a:lnTo>
                  <a:pt x="5277" y="3982"/>
                </a:lnTo>
                <a:lnTo>
                  <a:pt x="4959" y="3980"/>
                </a:lnTo>
                <a:lnTo>
                  <a:pt x="4937" y="3980"/>
                </a:lnTo>
                <a:lnTo>
                  <a:pt x="4918" y="3985"/>
                </a:lnTo>
                <a:lnTo>
                  <a:pt x="4898" y="3994"/>
                </a:lnTo>
                <a:lnTo>
                  <a:pt x="4879" y="4004"/>
                </a:lnTo>
                <a:lnTo>
                  <a:pt x="4744" y="4095"/>
                </a:lnTo>
                <a:lnTo>
                  <a:pt x="4740" y="4097"/>
                </a:lnTo>
                <a:lnTo>
                  <a:pt x="4739" y="4100"/>
                </a:lnTo>
                <a:lnTo>
                  <a:pt x="4739" y="4102"/>
                </a:lnTo>
                <a:lnTo>
                  <a:pt x="4739" y="4106"/>
                </a:lnTo>
                <a:lnTo>
                  <a:pt x="4740" y="4107"/>
                </a:lnTo>
                <a:lnTo>
                  <a:pt x="4744" y="4109"/>
                </a:lnTo>
                <a:lnTo>
                  <a:pt x="4747" y="4109"/>
                </a:lnTo>
                <a:lnTo>
                  <a:pt x="4752" y="4109"/>
                </a:lnTo>
                <a:close/>
                <a:moveTo>
                  <a:pt x="5967" y="4499"/>
                </a:moveTo>
                <a:lnTo>
                  <a:pt x="5918" y="4243"/>
                </a:lnTo>
                <a:lnTo>
                  <a:pt x="6255" y="3873"/>
                </a:lnTo>
                <a:lnTo>
                  <a:pt x="6204" y="3828"/>
                </a:lnTo>
                <a:lnTo>
                  <a:pt x="5880" y="4182"/>
                </a:lnTo>
                <a:lnTo>
                  <a:pt x="5320" y="4182"/>
                </a:lnTo>
                <a:lnTo>
                  <a:pt x="5320" y="3912"/>
                </a:lnTo>
                <a:lnTo>
                  <a:pt x="5653" y="3838"/>
                </a:lnTo>
                <a:lnTo>
                  <a:pt x="5796" y="3628"/>
                </a:lnTo>
                <a:lnTo>
                  <a:pt x="5772" y="3506"/>
                </a:lnTo>
                <a:lnTo>
                  <a:pt x="5770" y="3489"/>
                </a:lnTo>
                <a:lnTo>
                  <a:pt x="5769" y="3474"/>
                </a:lnTo>
                <a:lnTo>
                  <a:pt x="5770" y="3457"/>
                </a:lnTo>
                <a:lnTo>
                  <a:pt x="5772" y="3441"/>
                </a:lnTo>
                <a:lnTo>
                  <a:pt x="5777" y="3424"/>
                </a:lnTo>
                <a:lnTo>
                  <a:pt x="5782" y="3409"/>
                </a:lnTo>
                <a:lnTo>
                  <a:pt x="5789" y="3394"/>
                </a:lnTo>
                <a:lnTo>
                  <a:pt x="5796" y="3379"/>
                </a:lnTo>
                <a:lnTo>
                  <a:pt x="5813" y="3350"/>
                </a:lnTo>
                <a:lnTo>
                  <a:pt x="5831" y="3326"/>
                </a:lnTo>
                <a:lnTo>
                  <a:pt x="5853" y="3304"/>
                </a:lnTo>
                <a:lnTo>
                  <a:pt x="5864" y="3296"/>
                </a:lnTo>
                <a:lnTo>
                  <a:pt x="5874" y="3289"/>
                </a:lnTo>
                <a:lnTo>
                  <a:pt x="6057" y="3172"/>
                </a:lnTo>
                <a:lnTo>
                  <a:pt x="6096" y="3155"/>
                </a:lnTo>
                <a:lnTo>
                  <a:pt x="6114" y="3150"/>
                </a:lnTo>
                <a:lnTo>
                  <a:pt x="6131" y="3145"/>
                </a:lnTo>
                <a:lnTo>
                  <a:pt x="6148" y="3141"/>
                </a:lnTo>
                <a:lnTo>
                  <a:pt x="6165" y="3141"/>
                </a:lnTo>
                <a:lnTo>
                  <a:pt x="6180" y="3141"/>
                </a:lnTo>
                <a:lnTo>
                  <a:pt x="6194" y="3143"/>
                </a:lnTo>
                <a:lnTo>
                  <a:pt x="6207" y="3148"/>
                </a:lnTo>
                <a:lnTo>
                  <a:pt x="6221" y="3153"/>
                </a:lnTo>
                <a:lnTo>
                  <a:pt x="6233" y="3162"/>
                </a:lnTo>
                <a:lnTo>
                  <a:pt x="6243" y="3172"/>
                </a:lnTo>
                <a:lnTo>
                  <a:pt x="6253" y="3185"/>
                </a:lnTo>
                <a:lnTo>
                  <a:pt x="6263" y="3201"/>
                </a:lnTo>
                <a:lnTo>
                  <a:pt x="6272" y="3218"/>
                </a:lnTo>
                <a:lnTo>
                  <a:pt x="6279" y="3238"/>
                </a:lnTo>
                <a:lnTo>
                  <a:pt x="6736" y="4382"/>
                </a:lnTo>
                <a:lnTo>
                  <a:pt x="6706" y="4541"/>
                </a:lnTo>
                <a:lnTo>
                  <a:pt x="5967" y="4499"/>
                </a:lnTo>
                <a:close/>
                <a:moveTo>
                  <a:pt x="769" y="4499"/>
                </a:moveTo>
                <a:lnTo>
                  <a:pt x="30" y="4541"/>
                </a:lnTo>
                <a:lnTo>
                  <a:pt x="0" y="4382"/>
                </a:lnTo>
                <a:lnTo>
                  <a:pt x="457" y="3238"/>
                </a:lnTo>
                <a:lnTo>
                  <a:pt x="466" y="3218"/>
                </a:lnTo>
                <a:lnTo>
                  <a:pt x="474" y="3201"/>
                </a:lnTo>
                <a:lnTo>
                  <a:pt x="483" y="3185"/>
                </a:lnTo>
                <a:lnTo>
                  <a:pt x="493" y="3172"/>
                </a:lnTo>
                <a:lnTo>
                  <a:pt x="505" y="3162"/>
                </a:lnTo>
                <a:lnTo>
                  <a:pt x="517" y="3153"/>
                </a:lnTo>
                <a:lnTo>
                  <a:pt x="529" y="3148"/>
                </a:lnTo>
                <a:lnTo>
                  <a:pt x="542" y="3143"/>
                </a:lnTo>
                <a:lnTo>
                  <a:pt x="557" y="3141"/>
                </a:lnTo>
                <a:lnTo>
                  <a:pt x="573" y="3141"/>
                </a:lnTo>
                <a:lnTo>
                  <a:pt x="588" y="3141"/>
                </a:lnTo>
                <a:lnTo>
                  <a:pt x="605" y="3145"/>
                </a:lnTo>
                <a:lnTo>
                  <a:pt x="622" y="3150"/>
                </a:lnTo>
                <a:lnTo>
                  <a:pt x="640" y="3155"/>
                </a:lnTo>
                <a:lnTo>
                  <a:pt x="679" y="3172"/>
                </a:lnTo>
                <a:lnTo>
                  <a:pt x="862" y="3289"/>
                </a:lnTo>
                <a:lnTo>
                  <a:pt x="874" y="3296"/>
                </a:lnTo>
                <a:lnTo>
                  <a:pt x="884" y="3304"/>
                </a:lnTo>
                <a:lnTo>
                  <a:pt x="905" y="3326"/>
                </a:lnTo>
                <a:lnTo>
                  <a:pt x="925" y="3350"/>
                </a:lnTo>
                <a:lnTo>
                  <a:pt x="942" y="3379"/>
                </a:lnTo>
                <a:lnTo>
                  <a:pt x="949" y="3394"/>
                </a:lnTo>
                <a:lnTo>
                  <a:pt x="956" y="3409"/>
                </a:lnTo>
                <a:lnTo>
                  <a:pt x="961" y="3424"/>
                </a:lnTo>
                <a:lnTo>
                  <a:pt x="964" y="3441"/>
                </a:lnTo>
                <a:lnTo>
                  <a:pt x="967" y="3457"/>
                </a:lnTo>
                <a:lnTo>
                  <a:pt x="967" y="3474"/>
                </a:lnTo>
                <a:lnTo>
                  <a:pt x="967" y="3489"/>
                </a:lnTo>
                <a:lnTo>
                  <a:pt x="966" y="3506"/>
                </a:lnTo>
                <a:lnTo>
                  <a:pt x="942" y="3628"/>
                </a:lnTo>
                <a:lnTo>
                  <a:pt x="1084" y="3838"/>
                </a:lnTo>
                <a:lnTo>
                  <a:pt x="1416" y="3912"/>
                </a:lnTo>
                <a:lnTo>
                  <a:pt x="1416" y="4182"/>
                </a:lnTo>
                <a:lnTo>
                  <a:pt x="856" y="4182"/>
                </a:lnTo>
                <a:lnTo>
                  <a:pt x="532" y="3828"/>
                </a:lnTo>
                <a:lnTo>
                  <a:pt x="481" y="3873"/>
                </a:lnTo>
                <a:lnTo>
                  <a:pt x="820" y="4243"/>
                </a:lnTo>
                <a:lnTo>
                  <a:pt x="769" y="4499"/>
                </a:lnTo>
                <a:close/>
                <a:moveTo>
                  <a:pt x="5967" y="2096"/>
                </a:moveTo>
                <a:lnTo>
                  <a:pt x="5918" y="1840"/>
                </a:lnTo>
                <a:lnTo>
                  <a:pt x="6255" y="1471"/>
                </a:lnTo>
                <a:lnTo>
                  <a:pt x="6206" y="1425"/>
                </a:lnTo>
                <a:lnTo>
                  <a:pt x="5880" y="1779"/>
                </a:lnTo>
                <a:lnTo>
                  <a:pt x="5320" y="1779"/>
                </a:lnTo>
                <a:lnTo>
                  <a:pt x="5320" y="1510"/>
                </a:lnTo>
                <a:lnTo>
                  <a:pt x="5653" y="1433"/>
                </a:lnTo>
                <a:lnTo>
                  <a:pt x="5796" y="1225"/>
                </a:lnTo>
                <a:lnTo>
                  <a:pt x="5772" y="1101"/>
                </a:lnTo>
                <a:lnTo>
                  <a:pt x="5770" y="1086"/>
                </a:lnTo>
                <a:lnTo>
                  <a:pt x="5769" y="1071"/>
                </a:lnTo>
                <a:lnTo>
                  <a:pt x="5770" y="1054"/>
                </a:lnTo>
                <a:lnTo>
                  <a:pt x="5772" y="1037"/>
                </a:lnTo>
                <a:lnTo>
                  <a:pt x="5777" y="1022"/>
                </a:lnTo>
                <a:lnTo>
                  <a:pt x="5782" y="1006"/>
                </a:lnTo>
                <a:lnTo>
                  <a:pt x="5789" y="991"/>
                </a:lnTo>
                <a:lnTo>
                  <a:pt x="5796" y="976"/>
                </a:lnTo>
                <a:lnTo>
                  <a:pt x="5813" y="947"/>
                </a:lnTo>
                <a:lnTo>
                  <a:pt x="5831" y="922"/>
                </a:lnTo>
                <a:lnTo>
                  <a:pt x="5853" y="901"/>
                </a:lnTo>
                <a:lnTo>
                  <a:pt x="5864" y="893"/>
                </a:lnTo>
                <a:lnTo>
                  <a:pt x="5874" y="884"/>
                </a:lnTo>
                <a:lnTo>
                  <a:pt x="6057" y="769"/>
                </a:lnTo>
                <a:lnTo>
                  <a:pt x="6096" y="752"/>
                </a:lnTo>
                <a:lnTo>
                  <a:pt x="6114" y="747"/>
                </a:lnTo>
                <a:lnTo>
                  <a:pt x="6131" y="742"/>
                </a:lnTo>
                <a:lnTo>
                  <a:pt x="6148" y="739"/>
                </a:lnTo>
                <a:lnTo>
                  <a:pt x="6165" y="737"/>
                </a:lnTo>
                <a:lnTo>
                  <a:pt x="6180" y="739"/>
                </a:lnTo>
                <a:lnTo>
                  <a:pt x="6194" y="740"/>
                </a:lnTo>
                <a:lnTo>
                  <a:pt x="6207" y="744"/>
                </a:lnTo>
                <a:lnTo>
                  <a:pt x="6221" y="751"/>
                </a:lnTo>
                <a:lnTo>
                  <a:pt x="6233" y="759"/>
                </a:lnTo>
                <a:lnTo>
                  <a:pt x="6243" y="769"/>
                </a:lnTo>
                <a:lnTo>
                  <a:pt x="6253" y="783"/>
                </a:lnTo>
                <a:lnTo>
                  <a:pt x="6263" y="798"/>
                </a:lnTo>
                <a:lnTo>
                  <a:pt x="6272" y="815"/>
                </a:lnTo>
                <a:lnTo>
                  <a:pt x="6279" y="835"/>
                </a:lnTo>
                <a:lnTo>
                  <a:pt x="6736" y="1977"/>
                </a:lnTo>
                <a:lnTo>
                  <a:pt x="6706" y="2138"/>
                </a:lnTo>
                <a:lnTo>
                  <a:pt x="5967" y="2096"/>
                </a:lnTo>
                <a:close/>
                <a:moveTo>
                  <a:pt x="769" y="2096"/>
                </a:moveTo>
                <a:lnTo>
                  <a:pt x="30" y="2138"/>
                </a:lnTo>
                <a:lnTo>
                  <a:pt x="0" y="1977"/>
                </a:lnTo>
                <a:lnTo>
                  <a:pt x="457" y="835"/>
                </a:lnTo>
                <a:lnTo>
                  <a:pt x="464" y="815"/>
                </a:lnTo>
                <a:lnTo>
                  <a:pt x="474" y="798"/>
                </a:lnTo>
                <a:lnTo>
                  <a:pt x="483" y="783"/>
                </a:lnTo>
                <a:lnTo>
                  <a:pt x="493" y="769"/>
                </a:lnTo>
                <a:lnTo>
                  <a:pt x="505" y="759"/>
                </a:lnTo>
                <a:lnTo>
                  <a:pt x="517" y="751"/>
                </a:lnTo>
                <a:lnTo>
                  <a:pt x="529" y="744"/>
                </a:lnTo>
                <a:lnTo>
                  <a:pt x="542" y="740"/>
                </a:lnTo>
                <a:lnTo>
                  <a:pt x="557" y="739"/>
                </a:lnTo>
                <a:lnTo>
                  <a:pt x="573" y="737"/>
                </a:lnTo>
                <a:lnTo>
                  <a:pt x="588" y="739"/>
                </a:lnTo>
                <a:lnTo>
                  <a:pt x="605" y="742"/>
                </a:lnTo>
                <a:lnTo>
                  <a:pt x="622" y="747"/>
                </a:lnTo>
                <a:lnTo>
                  <a:pt x="640" y="752"/>
                </a:lnTo>
                <a:lnTo>
                  <a:pt x="679" y="769"/>
                </a:lnTo>
                <a:lnTo>
                  <a:pt x="862" y="884"/>
                </a:lnTo>
                <a:lnTo>
                  <a:pt x="874" y="893"/>
                </a:lnTo>
                <a:lnTo>
                  <a:pt x="884" y="901"/>
                </a:lnTo>
                <a:lnTo>
                  <a:pt x="905" y="922"/>
                </a:lnTo>
                <a:lnTo>
                  <a:pt x="925" y="947"/>
                </a:lnTo>
                <a:lnTo>
                  <a:pt x="942" y="976"/>
                </a:lnTo>
                <a:lnTo>
                  <a:pt x="949" y="991"/>
                </a:lnTo>
                <a:lnTo>
                  <a:pt x="956" y="1006"/>
                </a:lnTo>
                <a:lnTo>
                  <a:pt x="961" y="1022"/>
                </a:lnTo>
                <a:lnTo>
                  <a:pt x="964" y="1039"/>
                </a:lnTo>
                <a:lnTo>
                  <a:pt x="967" y="1054"/>
                </a:lnTo>
                <a:lnTo>
                  <a:pt x="967" y="1071"/>
                </a:lnTo>
                <a:lnTo>
                  <a:pt x="967" y="1086"/>
                </a:lnTo>
                <a:lnTo>
                  <a:pt x="966" y="1101"/>
                </a:lnTo>
                <a:lnTo>
                  <a:pt x="940" y="1225"/>
                </a:lnTo>
                <a:lnTo>
                  <a:pt x="1084" y="1433"/>
                </a:lnTo>
                <a:lnTo>
                  <a:pt x="1416" y="1510"/>
                </a:lnTo>
                <a:lnTo>
                  <a:pt x="1416" y="1779"/>
                </a:lnTo>
                <a:lnTo>
                  <a:pt x="856" y="1779"/>
                </a:lnTo>
                <a:lnTo>
                  <a:pt x="532" y="1425"/>
                </a:lnTo>
                <a:lnTo>
                  <a:pt x="481" y="1471"/>
                </a:lnTo>
                <a:lnTo>
                  <a:pt x="820" y="1840"/>
                </a:lnTo>
                <a:lnTo>
                  <a:pt x="769" y="2096"/>
                </a:lnTo>
                <a:close/>
                <a:moveTo>
                  <a:pt x="2555" y="293"/>
                </a:moveTo>
                <a:lnTo>
                  <a:pt x="2555" y="293"/>
                </a:lnTo>
                <a:lnTo>
                  <a:pt x="2550" y="373"/>
                </a:lnTo>
                <a:lnTo>
                  <a:pt x="2545" y="452"/>
                </a:lnTo>
                <a:lnTo>
                  <a:pt x="2540" y="530"/>
                </a:lnTo>
                <a:lnTo>
                  <a:pt x="2531" y="610"/>
                </a:lnTo>
                <a:lnTo>
                  <a:pt x="2523" y="688"/>
                </a:lnTo>
                <a:lnTo>
                  <a:pt x="2512" y="766"/>
                </a:lnTo>
                <a:lnTo>
                  <a:pt x="2502" y="844"/>
                </a:lnTo>
                <a:lnTo>
                  <a:pt x="2490" y="922"/>
                </a:lnTo>
                <a:lnTo>
                  <a:pt x="2811" y="1745"/>
                </a:lnTo>
                <a:lnTo>
                  <a:pt x="2817" y="1760"/>
                </a:lnTo>
                <a:lnTo>
                  <a:pt x="2821" y="1776"/>
                </a:lnTo>
                <a:lnTo>
                  <a:pt x="2824" y="1791"/>
                </a:lnTo>
                <a:lnTo>
                  <a:pt x="2824" y="1808"/>
                </a:lnTo>
                <a:lnTo>
                  <a:pt x="2824" y="1823"/>
                </a:lnTo>
                <a:lnTo>
                  <a:pt x="2822" y="1838"/>
                </a:lnTo>
                <a:lnTo>
                  <a:pt x="2821" y="1854"/>
                </a:lnTo>
                <a:lnTo>
                  <a:pt x="2816" y="1867"/>
                </a:lnTo>
                <a:lnTo>
                  <a:pt x="2809" y="1881"/>
                </a:lnTo>
                <a:lnTo>
                  <a:pt x="2800" y="1893"/>
                </a:lnTo>
                <a:lnTo>
                  <a:pt x="2790" y="1903"/>
                </a:lnTo>
                <a:lnTo>
                  <a:pt x="2778" y="1913"/>
                </a:lnTo>
                <a:lnTo>
                  <a:pt x="2765" y="1920"/>
                </a:lnTo>
                <a:lnTo>
                  <a:pt x="2748" y="1927"/>
                </a:lnTo>
                <a:lnTo>
                  <a:pt x="2729" y="1930"/>
                </a:lnTo>
                <a:lnTo>
                  <a:pt x="2709" y="1930"/>
                </a:lnTo>
                <a:lnTo>
                  <a:pt x="1040" y="1930"/>
                </a:lnTo>
                <a:lnTo>
                  <a:pt x="1040" y="1862"/>
                </a:lnTo>
                <a:lnTo>
                  <a:pt x="2709" y="1862"/>
                </a:lnTo>
                <a:lnTo>
                  <a:pt x="2724" y="1862"/>
                </a:lnTo>
                <a:lnTo>
                  <a:pt x="2736" y="1857"/>
                </a:lnTo>
                <a:lnTo>
                  <a:pt x="2746" y="1850"/>
                </a:lnTo>
                <a:lnTo>
                  <a:pt x="2750" y="1845"/>
                </a:lnTo>
                <a:lnTo>
                  <a:pt x="2753" y="1840"/>
                </a:lnTo>
                <a:lnTo>
                  <a:pt x="2756" y="1833"/>
                </a:lnTo>
                <a:lnTo>
                  <a:pt x="2758" y="1827"/>
                </a:lnTo>
                <a:lnTo>
                  <a:pt x="2758" y="1811"/>
                </a:lnTo>
                <a:lnTo>
                  <a:pt x="2755" y="1793"/>
                </a:lnTo>
                <a:lnTo>
                  <a:pt x="2748" y="1769"/>
                </a:lnTo>
                <a:lnTo>
                  <a:pt x="2467" y="1049"/>
                </a:lnTo>
                <a:lnTo>
                  <a:pt x="2453" y="1120"/>
                </a:lnTo>
                <a:lnTo>
                  <a:pt x="2438" y="1191"/>
                </a:lnTo>
                <a:lnTo>
                  <a:pt x="2421" y="1262"/>
                </a:lnTo>
                <a:lnTo>
                  <a:pt x="2404" y="1333"/>
                </a:lnTo>
                <a:lnTo>
                  <a:pt x="2387" y="1405"/>
                </a:lnTo>
                <a:lnTo>
                  <a:pt x="2367" y="1474"/>
                </a:lnTo>
                <a:lnTo>
                  <a:pt x="2326" y="1615"/>
                </a:lnTo>
                <a:lnTo>
                  <a:pt x="2230" y="1596"/>
                </a:lnTo>
                <a:lnTo>
                  <a:pt x="2458" y="274"/>
                </a:lnTo>
                <a:lnTo>
                  <a:pt x="2555" y="293"/>
                </a:lnTo>
                <a:close/>
                <a:moveTo>
                  <a:pt x="1062" y="178"/>
                </a:moveTo>
                <a:lnTo>
                  <a:pt x="1062" y="178"/>
                </a:lnTo>
                <a:lnTo>
                  <a:pt x="1076" y="210"/>
                </a:lnTo>
                <a:lnTo>
                  <a:pt x="1086" y="242"/>
                </a:lnTo>
                <a:lnTo>
                  <a:pt x="1089" y="261"/>
                </a:lnTo>
                <a:lnTo>
                  <a:pt x="1091" y="278"/>
                </a:lnTo>
                <a:lnTo>
                  <a:pt x="1093" y="297"/>
                </a:lnTo>
                <a:lnTo>
                  <a:pt x="1093" y="313"/>
                </a:lnTo>
                <a:lnTo>
                  <a:pt x="1093" y="391"/>
                </a:lnTo>
                <a:lnTo>
                  <a:pt x="1093" y="420"/>
                </a:lnTo>
                <a:lnTo>
                  <a:pt x="1088" y="449"/>
                </a:lnTo>
                <a:lnTo>
                  <a:pt x="1081" y="476"/>
                </a:lnTo>
                <a:lnTo>
                  <a:pt x="1072" y="503"/>
                </a:lnTo>
                <a:lnTo>
                  <a:pt x="1062" y="529"/>
                </a:lnTo>
                <a:lnTo>
                  <a:pt x="1049" y="552"/>
                </a:lnTo>
                <a:lnTo>
                  <a:pt x="1033" y="574"/>
                </a:lnTo>
                <a:lnTo>
                  <a:pt x="1016" y="595"/>
                </a:lnTo>
                <a:lnTo>
                  <a:pt x="998" y="613"/>
                </a:lnTo>
                <a:lnTo>
                  <a:pt x="978" y="630"/>
                </a:lnTo>
                <a:lnTo>
                  <a:pt x="957" y="646"/>
                </a:lnTo>
                <a:lnTo>
                  <a:pt x="933" y="657"/>
                </a:lnTo>
                <a:lnTo>
                  <a:pt x="910" y="668"/>
                </a:lnTo>
                <a:lnTo>
                  <a:pt x="883" y="674"/>
                </a:lnTo>
                <a:lnTo>
                  <a:pt x="857" y="679"/>
                </a:lnTo>
                <a:lnTo>
                  <a:pt x="830" y="681"/>
                </a:lnTo>
                <a:lnTo>
                  <a:pt x="803" y="679"/>
                </a:lnTo>
                <a:lnTo>
                  <a:pt x="778" y="676"/>
                </a:lnTo>
                <a:lnTo>
                  <a:pt x="754" y="669"/>
                </a:lnTo>
                <a:lnTo>
                  <a:pt x="730" y="661"/>
                </a:lnTo>
                <a:lnTo>
                  <a:pt x="708" y="649"/>
                </a:lnTo>
                <a:lnTo>
                  <a:pt x="688" y="635"/>
                </a:lnTo>
                <a:lnTo>
                  <a:pt x="669" y="620"/>
                </a:lnTo>
                <a:lnTo>
                  <a:pt x="651" y="603"/>
                </a:lnTo>
                <a:lnTo>
                  <a:pt x="634" y="585"/>
                </a:lnTo>
                <a:lnTo>
                  <a:pt x="618" y="566"/>
                </a:lnTo>
                <a:lnTo>
                  <a:pt x="605" y="544"/>
                </a:lnTo>
                <a:lnTo>
                  <a:pt x="593" y="520"/>
                </a:lnTo>
                <a:lnTo>
                  <a:pt x="583" y="496"/>
                </a:lnTo>
                <a:lnTo>
                  <a:pt x="576" y="471"/>
                </a:lnTo>
                <a:lnTo>
                  <a:pt x="571" y="446"/>
                </a:lnTo>
                <a:lnTo>
                  <a:pt x="566" y="419"/>
                </a:lnTo>
                <a:lnTo>
                  <a:pt x="537" y="268"/>
                </a:lnTo>
                <a:lnTo>
                  <a:pt x="535" y="254"/>
                </a:lnTo>
                <a:lnTo>
                  <a:pt x="534" y="239"/>
                </a:lnTo>
                <a:lnTo>
                  <a:pt x="534" y="213"/>
                </a:lnTo>
                <a:lnTo>
                  <a:pt x="539" y="188"/>
                </a:lnTo>
                <a:lnTo>
                  <a:pt x="546" y="164"/>
                </a:lnTo>
                <a:lnTo>
                  <a:pt x="557" y="142"/>
                </a:lnTo>
                <a:lnTo>
                  <a:pt x="569" y="122"/>
                </a:lnTo>
                <a:lnTo>
                  <a:pt x="584" y="103"/>
                </a:lnTo>
                <a:lnTo>
                  <a:pt x="601" y="86"/>
                </a:lnTo>
                <a:lnTo>
                  <a:pt x="620" y="71"/>
                </a:lnTo>
                <a:lnTo>
                  <a:pt x="639" y="58"/>
                </a:lnTo>
                <a:lnTo>
                  <a:pt x="657" y="47"/>
                </a:lnTo>
                <a:lnTo>
                  <a:pt x="676" y="39"/>
                </a:lnTo>
                <a:lnTo>
                  <a:pt x="695" y="32"/>
                </a:lnTo>
                <a:lnTo>
                  <a:pt x="712" y="27"/>
                </a:lnTo>
                <a:lnTo>
                  <a:pt x="728" y="25"/>
                </a:lnTo>
                <a:lnTo>
                  <a:pt x="742" y="25"/>
                </a:lnTo>
                <a:lnTo>
                  <a:pt x="759" y="19"/>
                </a:lnTo>
                <a:lnTo>
                  <a:pt x="776" y="14"/>
                </a:lnTo>
                <a:lnTo>
                  <a:pt x="793" y="8"/>
                </a:lnTo>
                <a:lnTo>
                  <a:pt x="808" y="5"/>
                </a:lnTo>
                <a:lnTo>
                  <a:pt x="839" y="0"/>
                </a:lnTo>
                <a:lnTo>
                  <a:pt x="869" y="0"/>
                </a:lnTo>
                <a:lnTo>
                  <a:pt x="896" y="3"/>
                </a:lnTo>
                <a:lnTo>
                  <a:pt x="923" y="10"/>
                </a:lnTo>
                <a:lnTo>
                  <a:pt x="949" y="19"/>
                </a:lnTo>
                <a:lnTo>
                  <a:pt x="972" y="29"/>
                </a:lnTo>
                <a:lnTo>
                  <a:pt x="994" y="41"/>
                </a:lnTo>
                <a:lnTo>
                  <a:pt x="1015" y="54"/>
                </a:lnTo>
                <a:lnTo>
                  <a:pt x="1033" y="68"/>
                </a:lnTo>
                <a:lnTo>
                  <a:pt x="1050" y="81"/>
                </a:lnTo>
                <a:lnTo>
                  <a:pt x="1077" y="105"/>
                </a:lnTo>
                <a:lnTo>
                  <a:pt x="1098" y="122"/>
                </a:lnTo>
                <a:lnTo>
                  <a:pt x="1062" y="178"/>
                </a:lnTo>
                <a:close/>
                <a:moveTo>
                  <a:pt x="635" y="419"/>
                </a:moveTo>
                <a:lnTo>
                  <a:pt x="635" y="419"/>
                </a:lnTo>
                <a:lnTo>
                  <a:pt x="639" y="441"/>
                </a:lnTo>
                <a:lnTo>
                  <a:pt x="642" y="459"/>
                </a:lnTo>
                <a:lnTo>
                  <a:pt x="649" y="478"/>
                </a:lnTo>
                <a:lnTo>
                  <a:pt x="657" y="496"/>
                </a:lnTo>
                <a:lnTo>
                  <a:pt x="666" y="513"/>
                </a:lnTo>
                <a:lnTo>
                  <a:pt x="676" y="530"/>
                </a:lnTo>
                <a:lnTo>
                  <a:pt x="688" y="544"/>
                </a:lnTo>
                <a:lnTo>
                  <a:pt x="700" y="557"/>
                </a:lnTo>
                <a:lnTo>
                  <a:pt x="713" y="569"/>
                </a:lnTo>
                <a:lnTo>
                  <a:pt x="728" y="581"/>
                </a:lnTo>
                <a:lnTo>
                  <a:pt x="744" y="590"/>
                </a:lnTo>
                <a:lnTo>
                  <a:pt x="759" y="598"/>
                </a:lnTo>
                <a:lnTo>
                  <a:pt x="776" y="605"/>
                </a:lnTo>
                <a:lnTo>
                  <a:pt x="793" y="608"/>
                </a:lnTo>
                <a:lnTo>
                  <a:pt x="812" y="612"/>
                </a:lnTo>
                <a:lnTo>
                  <a:pt x="830" y="613"/>
                </a:lnTo>
                <a:lnTo>
                  <a:pt x="849" y="612"/>
                </a:lnTo>
                <a:lnTo>
                  <a:pt x="867" y="608"/>
                </a:lnTo>
                <a:lnTo>
                  <a:pt x="886" y="603"/>
                </a:lnTo>
                <a:lnTo>
                  <a:pt x="905" y="596"/>
                </a:lnTo>
                <a:lnTo>
                  <a:pt x="922" y="586"/>
                </a:lnTo>
                <a:lnTo>
                  <a:pt x="937" y="576"/>
                </a:lnTo>
                <a:lnTo>
                  <a:pt x="952" y="564"/>
                </a:lnTo>
                <a:lnTo>
                  <a:pt x="967" y="549"/>
                </a:lnTo>
                <a:lnTo>
                  <a:pt x="979" y="534"/>
                </a:lnTo>
                <a:lnTo>
                  <a:pt x="991" y="517"/>
                </a:lnTo>
                <a:lnTo>
                  <a:pt x="1001" y="498"/>
                </a:lnTo>
                <a:lnTo>
                  <a:pt x="1010" y="480"/>
                </a:lnTo>
                <a:lnTo>
                  <a:pt x="1016" y="459"/>
                </a:lnTo>
                <a:lnTo>
                  <a:pt x="1022" y="437"/>
                </a:lnTo>
                <a:lnTo>
                  <a:pt x="1025" y="415"/>
                </a:lnTo>
                <a:lnTo>
                  <a:pt x="1025" y="391"/>
                </a:lnTo>
                <a:lnTo>
                  <a:pt x="1025" y="313"/>
                </a:lnTo>
                <a:lnTo>
                  <a:pt x="1025" y="288"/>
                </a:lnTo>
                <a:lnTo>
                  <a:pt x="1020" y="263"/>
                </a:lnTo>
                <a:lnTo>
                  <a:pt x="1006" y="280"/>
                </a:lnTo>
                <a:lnTo>
                  <a:pt x="989" y="293"/>
                </a:lnTo>
                <a:lnTo>
                  <a:pt x="972" y="305"/>
                </a:lnTo>
                <a:lnTo>
                  <a:pt x="950" y="315"/>
                </a:lnTo>
                <a:lnTo>
                  <a:pt x="927" y="324"/>
                </a:lnTo>
                <a:lnTo>
                  <a:pt x="901" y="330"/>
                </a:lnTo>
                <a:lnTo>
                  <a:pt x="871" y="337"/>
                </a:lnTo>
                <a:lnTo>
                  <a:pt x="837" y="342"/>
                </a:lnTo>
                <a:lnTo>
                  <a:pt x="825" y="396"/>
                </a:lnTo>
                <a:lnTo>
                  <a:pt x="764" y="400"/>
                </a:lnTo>
                <a:lnTo>
                  <a:pt x="764" y="364"/>
                </a:lnTo>
                <a:lnTo>
                  <a:pt x="762" y="349"/>
                </a:lnTo>
                <a:lnTo>
                  <a:pt x="759" y="335"/>
                </a:lnTo>
                <a:lnTo>
                  <a:pt x="752" y="324"/>
                </a:lnTo>
                <a:lnTo>
                  <a:pt x="745" y="313"/>
                </a:lnTo>
                <a:lnTo>
                  <a:pt x="735" y="305"/>
                </a:lnTo>
                <a:lnTo>
                  <a:pt x="725" y="298"/>
                </a:lnTo>
                <a:lnTo>
                  <a:pt x="712" y="293"/>
                </a:lnTo>
                <a:lnTo>
                  <a:pt x="700" y="291"/>
                </a:lnTo>
                <a:lnTo>
                  <a:pt x="686" y="293"/>
                </a:lnTo>
                <a:lnTo>
                  <a:pt x="674" y="298"/>
                </a:lnTo>
                <a:lnTo>
                  <a:pt x="662" y="305"/>
                </a:lnTo>
                <a:lnTo>
                  <a:pt x="654" y="313"/>
                </a:lnTo>
                <a:lnTo>
                  <a:pt x="645" y="324"/>
                </a:lnTo>
                <a:lnTo>
                  <a:pt x="640" y="335"/>
                </a:lnTo>
                <a:lnTo>
                  <a:pt x="635" y="349"/>
                </a:lnTo>
                <a:lnTo>
                  <a:pt x="635" y="364"/>
                </a:lnTo>
                <a:lnTo>
                  <a:pt x="635" y="413"/>
                </a:lnTo>
                <a:lnTo>
                  <a:pt x="635" y="419"/>
                </a:lnTo>
                <a:close/>
                <a:moveTo>
                  <a:pt x="1991" y="1699"/>
                </a:moveTo>
                <a:lnTo>
                  <a:pt x="1991" y="1699"/>
                </a:lnTo>
                <a:lnTo>
                  <a:pt x="1994" y="1701"/>
                </a:lnTo>
                <a:lnTo>
                  <a:pt x="1999" y="1701"/>
                </a:lnTo>
                <a:lnTo>
                  <a:pt x="2001" y="1699"/>
                </a:lnTo>
                <a:lnTo>
                  <a:pt x="2003" y="1698"/>
                </a:lnTo>
                <a:lnTo>
                  <a:pt x="2004" y="1694"/>
                </a:lnTo>
                <a:lnTo>
                  <a:pt x="2003" y="1691"/>
                </a:lnTo>
                <a:lnTo>
                  <a:pt x="2001" y="1689"/>
                </a:lnTo>
                <a:lnTo>
                  <a:pt x="1999" y="1686"/>
                </a:lnTo>
                <a:lnTo>
                  <a:pt x="1864" y="1596"/>
                </a:lnTo>
                <a:lnTo>
                  <a:pt x="1843" y="1584"/>
                </a:lnTo>
                <a:lnTo>
                  <a:pt x="1825" y="1577"/>
                </a:lnTo>
                <a:lnTo>
                  <a:pt x="1804" y="1572"/>
                </a:lnTo>
                <a:lnTo>
                  <a:pt x="1784" y="1571"/>
                </a:lnTo>
                <a:lnTo>
                  <a:pt x="1465" y="1574"/>
                </a:lnTo>
                <a:lnTo>
                  <a:pt x="1465" y="1506"/>
                </a:lnTo>
                <a:lnTo>
                  <a:pt x="1782" y="1506"/>
                </a:lnTo>
                <a:lnTo>
                  <a:pt x="1811" y="1506"/>
                </a:lnTo>
                <a:lnTo>
                  <a:pt x="1825" y="1508"/>
                </a:lnTo>
                <a:lnTo>
                  <a:pt x="1838" y="1511"/>
                </a:lnTo>
                <a:lnTo>
                  <a:pt x="1852" y="1515"/>
                </a:lnTo>
                <a:lnTo>
                  <a:pt x="1864" y="1520"/>
                </a:lnTo>
                <a:lnTo>
                  <a:pt x="1875" y="1525"/>
                </a:lnTo>
                <a:lnTo>
                  <a:pt x="1887" y="1533"/>
                </a:lnTo>
                <a:lnTo>
                  <a:pt x="2036" y="1652"/>
                </a:lnTo>
                <a:lnTo>
                  <a:pt x="2045" y="1662"/>
                </a:lnTo>
                <a:lnTo>
                  <a:pt x="2053" y="1671"/>
                </a:lnTo>
                <a:lnTo>
                  <a:pt x="2058" y="1681"/>
                </a:lnTo>
                <a:lnTo>
                  <a:pt x="2062" y="1691"/>
                </a:lnTo>
                <a:lnTo>
                  <a:pt x="2065" y="1699"/>
                </a:lnTo>
                <a:lnTo>
                  <a:pt x="2065" y="1710"/>
                </a:lnTo>
                <a:lnTo>
                  <a:pt x="2063" y="1718"/>
                </a:lnTo>
                <a:lnTo>
                  <a:pt x="2062" y="1727"/>
                </a:lnTo>
                <a:lnTo>
                  <a:pt x="2058" y="1733"/>
                </a:lnTo>
                <a:lnTo>
                  <a:pt x="2053" y="1740"/>
                </a:lnTo>
                <a:lnTo>
                  <a:pt x="2048" y="1747"/>
                </a:lnTo>
                <a:lnTo>
                  <a:pt x="2041" y="1750"/>
                </a:lnTo>
                <a:lnTo>
                  <a:pt x="2035" y="1754"/>
                </a:lnTo>
                <a:lnTo>
                  <a:pt x="2026" y="1757"/>
                </a:lnTo>
                <a:lnTo>
                  <a:pt x="2018" y="1757"/>
                </a:lnTo>
                <a:lnTo>
                  <a:pt x="2008" y="1755"/>
                </a:lnTo>
                <a:lnTo>
                  <a:pt x="1962" y="1744"/>
                </a:lnTo>
                <a:lnTo>
                  <a:pt x="1962" y="1786"/>
                </a:lnTo>
                <a:lnTo>
                  <a:pt x="1586" y="1786"/>
                </a:lnTo>
                <a:lnTo>
                  <a:pt x="1586" y="1767"/>
                </a:lnTo>
                <a:lnTo>
                  <a:pt x="1537" y="1779"/>
                </a:lnTo>
                <a:lnTo>
                  <a:pt x="1535" y="1710"/>
                </a:lnTo>
                <a:lnTo>
                  <a:pt x="1833" y="1642"/>
                </a:lnTo>
                <a:lnTo>
                  <a:pt x="1991" y="1699"/>
                </a:lnTo>
                <a:close/>
                <a:moveTo>
                  <a:pt x="1062" y="2581"/>
                </a:moveTo>
                <a:lnTo>
                  <a:pt x="1062" y="2581"/>
                </a:lnTo>
                <a:lnTo>
                  <a:pt x="1076" y="2613"/>
                </a:lnTo>
                <a:lnTo>
                  <a:pt x="1086" y="2647"/>
                </a:lnTo>
                <a:lnTo>
                  <a:pt x="1089" y="2664"/>
                </a:lnTo>
                <a:lnTo>
                  <a:pt x="1091" y="2681"/>
                </a:lnTo>
                <a:lnTo>
                  <a:pt x="1093" y="2699"/>
                </a:lnTo>
                <a:lnTo>
                  <a:pt x="1093" y="2718"/>
                </a:lnTo>
                <a:lnTo>
                  <a:pt x="1093" y="2796"/>
                </a:lnTo>
                <a:lnTo>
                  <a:pt x="1093" y="2825"/>
                </a:lnTo>
                <a:lnTo>
                  <a:pt x="1088" y="2852"/>
                </a:lnTo>
                <a:lnTo>
                  <a:pt x="1083" y="2879"/>
                </a:lnTo>
                <a:lnTo>
                  <a:pt x="1072" y="2906"/>
                </a:lnTo>
                <a:lnTo>
                  <a:pt x="1062" y="2931"/>
                </a:lnTo>
                <a:lnTo>
                  <a:pt x="1049" y="2955"/>
                </a:lnTo>
                <a:lnTo>
                  <a:pt x="1033" y="2977"/>
                </a:lnTo>
                <a:lnTo>
                  <a:pt x="1016" y="2997"/>
                </a:lnTo>
                <a:lnTo>
                  <a:pt x="998" y="3016"/>
                </a:lnTo>
                <a:lnTo>
                  <a:pt x="979" y="3033"/>
                </a:lnTo>
                <a:lnTo>
                  <a:pt x="957" y="3048"/>
                </a:lnTo>
                <a:lnTo>
                  <a:pt x="933" y="3060"/>
                </a:lnTo>
                <a:lnTo>
                  <a:pt x="910" y="3070"/>
                </a:lnTo>
                <a:lnTo>
                  <a:pt x="884" y="3077"/>
                </a:lnTo>
                <a:lnTo>
                  <a:pt x="857" y="3082"/>
                </a:lnTo>
                <a:lnTo>
                  <a:pt x="830" y="3084"/>
                </a:lnTo>
                <a:lnTo>
                  <a:pt x="810" y="3082"/>
                </a:lnTo>
                <a:lnTo>
                  <a:pt x="791" y="3080"/>
                </a:lnTo>
                <a:lnTo>
                  <a:pt x="773" y="3077"/>
                </a:lnTo>
                <a:lnTo>
                  <a:pt x="754" y="3072"/>
                </a:lnTo>
                <a:lnTo>
                  <a:pt x="735" y="3065"/>
                </a:lnTo>
                <a:lnTo>
                  <a:pt x="718" y="3057"/>
                </a:lnTo>
                <a:lnTo>
                  <a:pt x="703" y="3048"/>
                </a:lnTo>
                <a:lnTo>
                  <a:pt x="686" y="3038"/>
                </a:lnTo>
                <a:lnTo>
                  <a:pt x="673" y="3026"/>
                </a:lnTo>
                <a:lnTo>
                  <a:pt x="657" y="3014"/>
                </a:lnTo>
                <a:lnTo>
                  <a:pt x="644" y="3001"/>
                </a:lnTo>
                <a:lnTo>
                  <a:pt x="632" y="2987"/>
                </a:lnTo>
                <a:lnTo>
                  <a:pt x="620" y="2972"/>
                </a:lnTo>
                <a:lnTo>
                  <a:pt x="610" y="2955"/>
                </a:lnTo>
                <a:lnTo>
                  <a:pt x="601" y="2938"/>
                </a:lnTo>
                <a:lnTo>
                  <a:pt x="593" y="2921"/>
                </a:lnTo>
                <a:lnTo>
                  <a:pt x="578" y="2926"/>
                </a:lnTo>
                <a:lnTo>
                  <a:pt x="564" y="2928"/>
                </a:lnTo>
                <a:lnTo>
                  <a:pt x="549" y="2931"/>
                </a:lnTo>
                <a:lnTo>
                  <a:pt x="534" y="2931"/>
                </a:lnTo>
                <a:lnTo>
                  <a:pt x="517" y="2930"/>
                </a:lnTo>
                <a:lnTo>
                  <a:pt x="500" y="2928"/>
                </a:lnTo>
                <a:lnTo>
                  <a:pt x="483" y="2923"/>
                </a:lnTo>
                <a:lnTo>
                  <a:pt x="468" y="2918"/>
                </a:lnTo>
                <a:lnTo>
                  <a:pt x="452" y="2911"/>
                </a:lnTo>
                <a:lnTo>
                  <a:pt x="439" y="2903"/>
                </a:lnTo>
                <a:lnTo>
                  <a:pt x="425" y="2892"/>
                </a:lnTo>
                <a:lnTo>
                  <a:pt x="413" y="2882"/>
                </a:lnTo>
                <a:lnTo>
                  <a:pt x="403" y="2869"/>
                </a:lnTo>
                <a:lnTo>
                  <a:pt x="393" y="2857"/>
                </a:lnTo>
                <a:lnTo>
                  <a:pt x="385" y="2842"/>
                </a:lnTo>
                <a:lnTo>
                  <a:pt x="378" y="2828"/>
                </a:lnTo>
                <a:lnTo>
                  <a:pt x="371" y="2811"/>
                </a:lnTo>
                <a:lnTo>
                  <a:pt x="368" y="2796"/>
                </a:lnTo>
                <a:lnTo>
                  <a:pt x="364" y="2779"/>
                </a:lnTo>
                <a:lnTo>
                  <a:pt x="364" y="2760"/>
                </a:lnTo>
                <a:lnTo>
                  <a:pt x="364" y="2743"/>
                </a:lnTo>
                <a:lnTo>
                  <a:pt x="368" y="2726"/>
                </a:lnTo>
                <a:lnTo>
                  <a:pt x="371" y="2711"/>
                </a:lnTo>
                <a:lnTo>
                  <a:pt x="378" y="2694"/>
                </a:lnTo>
                <a:lnTo>
                  <a:pt x="385" y="2681"/>
                </a:lnTo>
                <a:lnTo>
                  <a:pt x="393" y="2665"/>
                </a:lnTo>
                <a:lnTo>
                  <a:pt x="403" y="2653"/>
                </a:lnTo>
                <a:lnTo>
                  <a:pt x="413" y="2640"/>
                </a:lnTo>
                <a:lnTo>
                  <a:pt x="425" y="2630"/>
                </a:lnTo>
                <a:lnTo>
                  <a:pt x="439" y="2620"/>
                </a:lnTo>
                <a:lnTo>
                  <a:pt x="452" y="2611"/>
                </a:lnTo>
                <a:lnTo>
                  <a:pt x="468" y="2604"/>
                </a:lnTo>
                <a:lnTo>
                  <a:pt x="483" y="2598"/>
                </a:lnTo>
                <a:lnTo>
                  <a:pt x="500" y="2594"/>
                </a:lnTo>
                <a:lnTo>
                  <a:pt x="517" y="2591"/>
                </a:lnTo>
                <a:lnTo>
                  <a:pt x="534" y="2591"/>
                </a:lnTo>
                <a:lnTo>
                  <a:pt x="539" y="2591"/>
                </a:lnTo>
                <a:lnTo>
                  <a:pt x="546" y="2570"/>
                </a:lnTo>
                <a:lnTo>
                  <a:pt x="554" y="2553"/>
                </a:lnTo>
                <a:lnTo>
                  <a:pt x="564" y="2535"/>
                </a:lnTo>
                <a:lnTo>
                  <a:pt x="574" y="2520"/>
                </a:lnTo>
                <a:lnTo>
                  <a:pt x="588" y="2504"/>
                </a:lnTo>
                <a:lnTo>
                  <a:pt x="601" y="2491"/>
                </a:lnTo>
                <a:lnTo>
                  <a:pt x="615" y="2479"/>
                </a:lnTo>
                <a:lnTo>
                  <a:pt x="630" y="2467"/>
                </a:lnTo>
                <a:lnTo>
                  <a:pt x="645" y="2457"/>
                </a:lnTo>
                <a:lnTo>
                  <a:pt x="661" y="2448"/>
                </a:lnTo>
                <a:lnTo>
                  <a:pt x="676" y="2442"/>
                </a:lnTo>
                <a:lnTo>
                  <a:pt x="691" y="2437"/>
                </a:lnTo>
                <a:lnTo>
                  <a:pt x="705" y="2431"/>
                </a:lnTo>
                <a:lnTo>
                  <a:pt x="718" y="2430"/>
                </a:lnTo>
                <a:lnTo>
                  <a:pt x="732" y="2428"/>
                </a:lnTo>
                <a:lnTo>
                  <a:pt x="742" y="2430"/>
                </a:lnTo>
                <a:lnTo>
                  <a:pt x="759" y="2421"/>
                </a:lnTo>
                <a:lnTo>
                  <a:pt x="776" y="2416"/>
                </a:lnTo>
                <a:lnTo>
                  <a:pt x="793" y="2411"/>
                </a:lnTo>
                <a:lnTo>
                  <a:pt x="808" y="2408"/>
                </a:lnTo>
                <a:lnTo>
                  <a:pt x="839" y="2404"/>
                </a:lnTo>
                <a:lnTo>
                  <a:pt x="869" y="2404"/>
                </a:lnTo>
                <a:lnTo>
                  <a:pt x="896" y="2408"/>
                </a:lnTo>
                <a:lnTo>
                  <a:pt x="923" y="2413"/>
                </a:lnTo>
                <a:lnTo>
                  <a:pt x="949" y="2421"/>
                </a:lnTo>
                <a:lnTo>
                  <a:pt x="972" y="2433"/>
                </a:lnTo>
                <a:lnTo>
                  <a:pt x="994" y="2445"/>
                </a:lnTo>
                <a:lnTo>
                  <a:pt x="1015" y="2457"/>
                </a:lnTo>
                <a:lnTo>
                  <a:pt x="1033" y="2470"/>
                </a:lnTo>
                <a:lnTo>
                  <a:pt x="1050" y="2484"/>
                </a:lnTo>
                <a:lnTo>
                  <a:pt x="1077" y="2508"/>
                </a:lnTo>
                <a:lnTo>
                  <a:pt x="1098" y="2526"/>
                </a:lnTo>
                <a:lnTo>
                  <a:pt x="1062" y="2581"/>
                </a:lnTo>
                <a:close/>
                <a:moveTo>
                  <a:pt x="647" y="2877"/>
                </a:moveTo>
                <a:lnTo>
                  <a:pt x="647" y="2877"/>
                </a:lnTo>
                <a:lnTo>
                  <a:pt x="654" y="2892"/>
                </a:lnTo>
                <a:lnTo>
                  <a:pt x="661" y="2908"/>
                </a:lnTo>
                <a:lnTo>
                  <a:pt x="668" y="2921"/>
                </a:lnTo>
                <a:lnTo>
                  <a:pt x="678" y="2933"/>
                </a:lnTo>
                <a:lnTo>
                  <a:pt x="686" y="2947"/>
                </a:lnTo>
                <a:lnTo>
                  <a:pt x="696" y="2957"/>
                </a:lnTo>
                <a:lnTo>
                  <a:pt x="708" y="2969"/>
                </a:lnTo>
                <a:lnTo>
                  <a:pt x="720" y="2977"/>
                </a:lnTo>
                <a:lnTo>
                  <a:pt x="732" y="2986"/>
                </a:lnTo>
                <a:lnTo>
                  <a:pt x="744" y="2994"/>
                </a:lnTo>
                <a:lnTo>
                  <a:pt x="757" y="3001"/>
                </a:lnTo>
                <a:lnTo>
                  <a:pt x="771" y="3006"/>
                </a:lnTo>
                <a:lnTo>
                  <a:pt x="786" y="3011"/>
                </a:lnTo>
                <a:lnTo>
                  <a:pt x="800" y="3013"/>
                </a:lnTo>
                <a:lnTo>
                  <a:pt x="815" y="3016"/>
                </a:lnTo>
                <a:lnTo>
                  <a:pt x="830" y="3016"/>
                </a:lnTo>
                <a:lnTo>
                  <a:pt x="849" y="3014"/>
                </a:lnTo>
                <a:lnTo>
                  <a:pt x="867" y="3011"/>
                </a:lnTo>
                <a:lnTo>
                  <a:pt x="886" y="3006"/>
                </a:lnTo>
                <a:lnTo>
                  <a:pt x="905" y="2999"/>
                </a:lnTo>
                <a:lnTo>
                  <a:pt x="922" y="2991"/>
                </a:lnTo>
                <a:lnTo>
                  <a:pt x="939" y="2979"/>
                </a:lnTo>
                <a:lnTo>
                  <a:pt x="952" y="2967"/>
                </a:lnTo>
                <a:lnTo>
                  <a:pt x="967" y="2953"/>
                </a:lnTo>
                <a:lnTo>
                  <a:pt x="979" y="2936"/>
                </a:lnTo>
                <a:lnTo>
                  <a:pt x="991" y="2919"/>
                </a:lnTo>
                <a:lnTo>
                  <a:pt x="1001" y="2903"/>
                </a:lnTo>
                <a:lnTo>
                  <a:pt x="1010" y="2882"/>
                </a:lnTo>
                <a:lnTo>
                  <a:pt x="1016" y="2862"/>
                </a:lnTo>
                <a:lnTo>
                  <a:pt x="1022" y="2840"/>
                </a:lnTo>
                <a:lnTo>
                  <a:pt x="1025" y="2818"/>
                </a:lnTo>
                <a:lnTo>
                  <a:pt x="1025" y="2796"/>
                </a:lnTo>
                <a:lnTo>
                  <a:pt x="1025" y="2718"/>
                </a:lnTo>
                <a:lnTo>
                  <a:pt x="1025" y="2699"/>
                </a:lnTo>
                <a:lnTo>
                  <a:pt x="1023" y="2681"/>
                </a:lnTo>
                <a:lnTo>
                  <a:pt x="1020" y="2664"/>
                </a:lnTo>
                <a:lnTo>
                  <a:pt x="1015" y="2647"/>
                </a:lnTo>
                <a:lnTo>
                  <a:pt x="1000" y="2660"/>
                </a:lnTo>
                <a:lnTo>
                  <a:pt x="981" y="2674"/>
                </a:lnTo>
                <a:lnTo>
                  <a:pt x="961" y="2686"/>
                </a:lnTo>
                <a:lnTo>
                  <a:pt x="940" y="2697"/>
                </a:lnTo>
                <a:lnTo>
                  <a:pt x="900" y="2718"/>
                </a:lnTo>
                <a:lnTo>
                  <a:pt x="857" y="2735"/>
                </a:lnTo>
                <a:lnTo>
                  <a:pt x="822" y="2748"/>
                </a:lnTo>
                <a:lnTo>
                  <a:pt x="791" y="2757"/>
                </a:lnTo>
                <a:lnTo>
                  <a:pt x="764" y="2765"/>
                </a:lnTo>
                <a:lnTo>
                  <a:pt x="752" y="2753"/>
                </a:lnTo>
                <a:lnTo>
                  <a:pt x="740" y="2743"/>
                </a:lnTo>
                <a:lnTo>
                  <a:pt x="734" y="2738"/>
                </a:lnTo>
                <a:lnTo>
                  <a:pt x="725" y="2736"/>
                </a:lnTo>
                <a:lnTo>
                  <a:pt x="717" y="2735"/>
                </a:lnTo>
                <a:lnTo>
                  <a:pt x="708" y="2733"/>
                </a:lnTo>
                <a:lnTo>
                  <a:pt x="696" y="2735"/>
                </a:lnTo>
                <a:lnTo>
                  <a:pt x="684" y="2740"/>
                </a:lnTo>
                <a:lnTo>
                  <a:pt x="673" y="2747"/>
                </a:lnTo>
                <a:lnTo>
                  <a:pt x="662" y="2755"/>
                </a:lnTo>
                <a:lnTo>
                  <a:pt x="656" y="2765"/>
                </a:lnTo>
                <a:lnTo>
                  <a:pt x="649" y="2777"/>
                </a:lnTo>
                <a:lnTo>
                  <a:pt x="645" y="2791"/>
                </a:lnTo>
                <a:lnTo>
                  <a:pt x="644" y="2806"/>
                </a:lnTo>
                <a:lnTo>
                  <a:pt x="644" y="2855"/>
                </a:lnTo>
                <a:lnTo>
                  <a:pt x="645" y="2867"/>
                </a:lnTo>
                <a:lnTo>
                  <a:pt x="647" y="2877"/>
                </a:lnTo>
                <a:close/>
                <a:moveTo>
                  <a:pt x="6028" y="329"/>
                </a:moveTo>
                <a:lnTo>
                  <a:pt x="6028" y="329"/>
                </a:lnTo>
                <a:lnTo>
                  <a:pt x="6019" y="330"/>
                </a:lnTo>
                <a:lnTo>
                  <a:pt x="6011" y="332"/>
                </a:lnTo>
                <a:lnTo>
                  <a:pt x="6002" y="334"/>
                </a:lnTo>
                <a:lnTo>
                  <a:pt x="5996" y="339"/>
                </a:lnTo>
                <a:lnTo>
                  <a:pt x="5989" y="344"/>
                </a:lnTo>
                <a:lnTo>
                  <a:pt x="5984" y="349"/>
                </a:lnTo>
                <a:lnTo>
                  <a:pt x="5974" y="363"/>
                </a:lnTo>
                <a:lnTo>
                  <a:pt x="5941" y="352"/>
                </a:lnTo>
                <a:lnTo>
                  <a:pt x="5911" y="342"/>
                </a:lnTo>
                <a:lnTo>
                  <a:pt x="5874" y="330"/>
                </a:lnTo>
                <a:lnTo>
                  <a:pt x="5835" y="313"/>
                </a:lnTo>
                <a:lnTo>
                  <a:pt x="5794" y="293"/>
                </a:lnTo>
                <a:lnTo>
                  <a:pt x="5774" y="281"/>
                </a:lnTo>
                <a:lnTo>
                  <a:pt x="5755" y="269"/>
                </a:lnTo>
                <a:lnTo>
                  <a:pt x="5738" y="258"/>
                </a:lnTo>
                <a:lnTo>
                  <a:pt x="5721" y="244"/>
                </a:lnTo>
                <a:lnTo>
                  <a:pt x="5718" y="261"/>
                </a:lnTo>
                <a:lnTo>
                  <a:pt x="5714" y="278"/>
                </a:lnTo>
                <a:lnTo>
                  <a:pt x="5713" y="297"/>
                </a:lnTo>
                <a:lnTo>
                  <a:pt x="5711" y="313"/>
                </a:lnTo>
                <a:lnTo>
                  <a:pt x="5711" y="391"/>
                </a:lnTo>
                <a:lnTo>
                  <a:pt x="5713" y="415"/>
                </a:lnTo>
                <a:lnTo>
                  <a:pt x="5716" y="437"/>
                </a:lnTo>
                <a:lnTo>
                  <a:pt x="5721" y="459"/>
                </a:lnTo>
                <a:lnTo>
                  <a:pt x="5728" y="480"/>
                </a:lnTo>
                <a:lnTo>
                  <a:pt x="5736" y="498"/>
                </a:lnTo>
                <a:lnTo>
                  <a:pt x="5745" y="517"/>
                </a:lnTo>
                <a:lnTo>
                  <a:pt x="5757" y="534"/>
                </a:lnTo>
                <a:lnTo>
                  <a:pt x="5770" y="549"/>
                </a:lnTo>
                <a:lnTo>
                  <a:pt x="5784" y="564"/>
                </a:lnTo>
                <a:lnTo>
                  <a:pt x="5799" y="576"/>
                </a:lnTo>
                <a:lnTo>
                  <a:pt x="5816" y="586"/>
                </a:lnTo>
                <a:lnTo>
                  <a:pt x="5833" y="596"/>
                </a:lnTo>
                <a:lnTo>
                  <a:pt x="5850" y="603"/>
                </a:lnTo>
                <a:lnTo>
                  <a:pt x="5869" y="608"/>
                </a:lnTo>
                <a:lnTo>
                  <a:pt x="5887" y="612"/>
                </a:lnTo>
                <a:lnTo>
                  <a:pt x="5908" y="613"/>
                </a:lnTo>
                <a:lnTo>
                  <a:pt x="5921" y="612"/>
                </a:lnTo>
                <a:lnTo>
                  <a:pt x="5936" y="610"/>
                </a:lnTo>
                <a:lnTo>
                  <a:pt x="5950" y="608"/>
                </a:lnTo>
                <a:lnTo>
                  <a:pt x="5963" y="603"/>
                </a:lnTo>
                <a:lnTo>
                  <a:pt x="5977" y="598"/>
                </a:lnTo>
                <a:lnTo>
                  <a:pt x="5991" y="591"/>
                </a:lnTo>
                <a:lnTo>
                  <a:pt x="6002" y="585"/>
                </a:lnTo>
                <a:lnTo>
                  <a:pt x="6014" y="576"/>
                </a:lnTo>
                <a:lnTo>
                  <a:pt x="6026" y="568"/>
                </a:lnTo>
                <a:lnTo>
                  <a:pt x="6036" y="557"/>
                </a:lnTo>
                <a:lnTo>
                  <a:pt x="6046" y="547"/>
                </a:lnTo>
                <a:lnTo>
                  <a:pt x="6057" y="535"/>
                </a:lnTo>
                <a:lnTo>
                  <a:pt x="6065" y="524"/>
                </a:lnTo>
                <a:lnTo>
                  <a:pt x="6074" y="510"/>
                </a:lnTo>
                <a:lnTo>
                  <a:pt x="6080" y="496"/>
                </a:lnTo>
                <a:lnTo>
                  <a:pt x="6087" y="483"/>
                </a:lnTo>
                <a:lnTo>
                  <a:pt x="6091" y="468"/>
                </a:lnTo>
                <a:lnTo>
                  <a:pt x="6092" y="451"/>
                </a:lnTo>
                <a:lnTo>
                  <a:pt x="6092" y="400"/>
                </a:lnTo>
                <a:lnTo>
                  <a:pt x="6091" y="386"/>
                </a:lnTo>
                <a:lnTo>
                  <a:pt x="6087" y="373"/>
                </a:lnTo>
                <a:lnTo>
                  <a:pt x="6080" y="361"/>
                </a:lnTo>
                <a:lnTo>
                  <a:pt x="6074" y="351"/>
                </a:lnTo>
                <a:lnTo>
                  <a:pt x="6063" y="342"/>
                </a:lnTo>
                <a:lnTo>
                  <a:pt x="6052" y="335"/>
                </a:lnTo>
                <a:lnTo>
                  <a:pt x="6040" y="330"/>
                </a:lnTo>
                <a:lnTo>
                  <a:pt x="6028" y="329"/>
                </a:lnTo>
                <a:close/>
                <a:moveTo>
                  <a:pt x="6145" y="518"/>
                </a:moveTo>
                <a:lnTo>
                  <a:pt x="6145" y="518"/>
                </a:lnTo>
                <a:lnTo>
                  <a:pt x="6136" y="535"/>
                </a:lnTo>
                <a:lnTo>
                  <a:pt x="6126" y="552"/>
                </a:lnTo>
                <a:lnTo>
                  <a:pt x="6116" y="568"/>
                </a:lnTo>
                <a:lnTo>
                  <a:pt x="6104" y="583"/>
                </a:lnTo>
                <a:lnTo>
                  <a:pt x="6092" y="598"/>
                </a:lnTo>
                <a:lnTo>
                  <a:pt x="6079" y="612"/>
                </a:lnTo>
                <a:lnTo>
                  <a:pt x="6065" y="624"/>
                </a:lnTo>
                <a:lnTo>
                  <a:pt x="6050" y="635"/>
                </a:lnTo>
                <a:lnTo>
                  <a:pt x="6035" y="646"/>
                </a:lnTo>
                <a:lnTo>
                  <a:pt x="6018" y="654"/>
                </a:lnTo>
                <a:lnTo>
                  <a:pt x="6001" y="663"/>
                </a:lnTo>
                <a:lnTo>
                  <a:pt x="5984" y="669"/>
                </a:lnTo>
                <a:lnTo>
                  <a:pt x="5965" y="674"/>
                </a:lnTo>
                <a:lnTo>
                  <a:pt x="5947" y="678"/>
                </a:lnTo>
                <a:lnTo>
                  <a:pt x="5928" y="679"/>
                </a:lnTo>
                <a:lnTo>
                  <a:pt x="5908" y="681"/>
                </a:lnTo>
                <a:lnTo>
                  <a:pt x="5880" y="679"/>
                </a:lnTo>
                <a:lnTo>
                  <a:pt x="5853" y="674"/>
                </a:lnTo>
                <a:lnTo>
                  <a:pt x="5828" y="668"/>
                </a:lnTo>
                <a:lnTo>
                  <a:pt x="5804" y="657"/>
                </a:lnTo>
                <a:lnTo>
                  <a:pt x="5780" y="646"/>
                </a:lnTo>
                <a:lnTo>
                  <a:pt x="5758" y="630"/>
                </a:lnTo>
                <a:lnTo>
                  <a:pt x="5738" y="613"/>
                </a:lnTo>
                <a:lnTo>
                  <a:pt x="5720" y="595"/>
                </a:lnTo>
                <a:lnTo>
                  <a:pt x="5703" y="574"/>
                </a:lnTo>
                <a:lnTo>
                  <a:pt x="5687" y="552"/>
                </a:lnTo>
                <a:lnTo>
                  <a:pt x="5675" y="529"/>
                </a:lnTo>
                <a:lnTo>
                  <a:pt x="5664" y="503"/>
                </a:lnTo>
                <a:lnTo>
                  <a:pt x="5655" y="476"/>
                </a:lnTo>
                <a:lnTo>
                  <a:pt x="5648" y="449"/>
                </a:lnTo>
                <a:lnTo>
                  <a:pt x="5645" y="420"/>
                </a:lnTo>
                <a:lnTo>
                  <a:pt x="5643" y="391"/>
                </a:lnTo>
                <a:lnTo>
                  <a:pt x="5643" y="313"/>
                </a:lnTo>
                <a:lnTo>
                  <a:pt x="5643" y="297"/>
                </a:lnTo>
                <a:lnTo>
                  <a:pt x="5645" y="278"/>
                </a:lnTo>
                <a:lnTo>
                  <a:pt x="5648" y="261"/>
                </a:lnTo>
                <a:lnTo>
                  <a:pt x="5652" y="242"/>
                </a:lnTo>
                <a:lnTo>
                  <a:pt x="5662" y="210"/>
                </a:lnTo>
                <a:lnTo>
                  <a:pt x="5675" y="178"/>
                </a:lnTo>
                <a:lnTo>
                  <a:pt x="5640" y="122"/>
                </a:lnTo>
                <a:lnTo>
                  <a:pt x="5659" y="105"/>
                </a:lnTo>
                <a:lnTo>
                  <a:pt x="5687" y="81"/>
                </a:lnTo>
                <a:lnTo>
                  <a:pt x="5703" y="68"/>
                </a:lnTo>
                <a:lnTo>
                  <a:pt x="5721" y="54"/>
                </a:lnTo>
                <a:lnTo>
                  <a:pt x="5742" y="41"/>
                </a:lnTo>
                <a:lnTo>
                  <a:pt x="5764" y="29"/>
                </a:lnTo>
                <a:lnTo>
                  <a:pt x="5787" y="19"/>
                </a:lnTo>
                <a:lnTo>
                  <a:pt x="5813" y="10"/>
                </a:lnTo>
                <a:lnTo>
                  <a:pt x="5840" y="3"/>
                </a:lnTo>
                <a:lnTo>
                  <a:pt x="5869" y="0"/>
                </a:lnTo>
                <a:lnTo>
                  <a:pt x="5897" y="0"/>
                </a:lnTo>
                <a:lnTo>
                  <a:pt x="5928" y="5"/>
                </a:lnTo>
                <a:lnTo>
                  <a:pt x="5945" y="8"/>
                </a:lnTo>
                <a:lnTo>
                  <a:pt x="5962" y="14"/>
                </a:lnTo>
                <a:lnTo>
                  <a:pt x="5977" y="19"/>
                </a:lnTo>
                <a:lnTo>
                  <a:pt x="5994" y="25"/>
                </a:lnTo>
                <a:lnTo>
                  <a:pt x="6006" y="25"/>
                </a:lnTo>
                <a:lnTo>
                  <a:pt x="6018" y="27"/>
                </a:lnTo>
                <a:lnTo>
                  <a:pt x="6031" y="29"/>
                </a:lnTo>
                <a:lnTo>
                  <a:pt x="6046" y="34"/>
                </a:lnTo>
                <a:lnTo>
                  <a:pt x="6062" y="39"/>
                </a:lnTo>
                <a:lnTo>
                  <a:pt x="6077" y="46"/>
                </a:lnTo>
                <a:lnTo>
                  <a:pt x="6092" y="54"/>
                </a:lnTo>
                <a:lnTo>
                  <a:pt x="6107" y="64"/>
                </a:lnTo>
                <a:lnTo>
                  <a:pt x="6123" y="75"/>
                </a:lnTo>
                <a:lnTo>
                  <a:pt x="6136" y="88"/>
                </a:lnTo>
                <a:lnTo>
                  <a:pt x="6150" y="102"/>
                </a:lnTo>
                <a:lnTo>
                  <a:pt x="6162" y="117"/>
                </a:lnTo>
                <a:lnTo>
                  <a:pt x="6174" y="132"/>
                </a:lnTo>
                <a:lnTo>
                  <a:pt x="6184" y="149"/>
                </a:lnTo>
                <a:lnTo>
                  <a:pt x="6190" y="168"/>
                </a:lnTo>
                <a:lnTo>
                  <a:pt x="6197" y="188"/>
                </a:lnTo>
                <a:lnTo>
                  <a:pt x="6202" y="188"/>
                </a:lnTo>
                <a:lnTo>
                  <a:pt x="6219" y="188"/>
                </a:lnTo>
                <a:lnTo>
                  <a:pt x="6236" y="191"/>
                </a:lnTo>
                <a:lnTo>
                  <a:pt x="6253" y="195"/>
                </a:lnTo>
                <a:lnTo>
                  <a:pt x="6268" y="202"/>
                </a:lnTo>
                <a:lnTo>
                  <a:pt x="6284" y="208"/>
                </a:lnTo>
                <a:lnTo>
                  <a:pt x="6297" y="217"/>
                </a:lnTo>
                <a:lnTo>
                  <a:pt x="6311" y="227"/>
                </a:lnTo>
                <a:lnTo>
                  <a:pt x="6323" y="237"/>
                </a:lnTo>
                <a:lnTo>
                  <a:pt x="6334" y="249"/>
                </a:lnTo>
                <a:lnTo>
                  <a:pt x="6345" y="263"/>
                </a:lnTo>
                <a:lnTo>
                  <a:pt x="6353" y="276"/>
                </a:lnTo>
                <a:lnTo>
                  <a:pt x="6360" y="291"/>
                </a:lnTo>
                <a:lnTo>
                  <a:pt x="6365" y="307"/>
                </a:lnTo>
                <a:lnTo>
                  <a:pt x="6370" y="324"/>
                </a:lnTo>
                <a:lnTo>
                  <a:pt x="6372" y="341"/>
                </a:lnTo>
                <a:lnTo>
                  <a:pt x="6373" y="358"/>
                </a:lnTo>
                <a:lnTo>
                  <a:pt x="6372" y="374"/>
                </a:lnTo>
                <a:lnTo>
                  <a:pt x="6370" y="391"/>
                </a:lnTo>
                <a:lnTo>
                  <a:pt x="6365" y="408"/>
                </a:lnTo>
                <a:lnTo>
                  <a:pt x="6360" y="424"/>
                </a:lnTo>
                <a:lnTo>
                  <a:pt x="6353" y="439"/>
                </a:lnTo>
                <a:lnTo>
                  <a:pt x="6345" y="452"/>
                </a:lnTo>
                <a:lnTo>
                  <a:pt x="6334" y="466"/>
                </a:lnTo>
                <a:lnTo>
                  <a:pt x="6323" y="478"/>
                </a:lnTo>
                <a:lnTo>
                  <a:pt x="6311" y="490"/>
                </a:lnTo>
                <a:lnTo>
                  <a:pt x="6297" y="500"/>
                </a:lnTo>
                <a:lnTo>
                  <a:pt x="6284" y="508"/>
                </a:lnTo>
                <a:lnTo>
                  <a:pt x="6268" y="515"/>
                </a:lnTo>
                <a:lnTo>
                  <a:pt x="6253" y="520"/>
                </a:lnTo>
                <a:lnTo>
                  <a:pt x="6236" y="525"/>
                </a:lnTo>
                <a:lnTo>
                  <a:pt x="6219" y="527"/>
                </a:lnTo>
                <a:lnTo>
                  <a:pt x="6202" y="529"/>
                </a:lnTo>
                <a:lnTo>
                  <a:pt x="6187" y="527"/>
                </a:lnTo>
                <a:lnTo>
                  <a:pt x="6174" y="525"/>
                </a:lnTo>
                <a:lnTo>
                  <a:pt x="6158" y="522"/>
                </a:lnTo>
                <a:lnTo>
                  <a:pt x="6145" y="518"/>
                </a:lnTo>
                <a:close/>
                <a:moveTo>
                  <a:pt x="6172" y="2713"/>
                </a:moveTo>
                <a:lnTo>
                  <a:pt x="6172" y="2718"/>
                </a:lnTo>
                <a:lnTo>
                  <a:pt x="6172" y="2796"/>
                </a:lnTo>
                <a:lnTo>
                  <a:pt x="6170" y="2825"/>
                </a:lnTo>
                <a:lnTo>
                  <a:pt x="6167" y="2852"/>
                </a:lnTo>
                <a:lnTo>
                  <a:pt x="6160" y="2879"/>
                </a:lnTo>
                <a:lnTo>
                  <a:pt x="6152" y="2906"/>
                </a:lnTo>
                <a:lnTo>
                  <a:pt x="6140" y="2931"/>
                </a:lnTo>
                <a:lnTo>
                  <a:pt x="6128" y="2955"/>
                </a:lnTo>
                <a:lnTo>
                  <a:pt x="6113" y="2977"/>
                </a:lnTo>
                <a:lnTo>
                  <a:pt x="6096" y="2997"/>
                </a:lnTo>
                <a:lnTo>
                  <a:pt x="6077" y="3016"/>
                </a:lnTo>
                <a:lnTo>
                  <a:pt x="6057" y="3033"/>
                </a:lnTo>
                <a:lnTo>
                  <a:pt x="6035" y="3048"/>
                </a:lnTo>
                <a:lnTo>
                  <a:pt x="6011" y="3060"/>
                </a:lnTo>
                <a:lnTo>
                  <a:pt x="5987" y="3070"/>
                </a:lnTo>
                <a:lnTo>
                  <a:pt x="5962" y="3077"/>
                </a:lnTo>
                <a:lnTo>
                  <a:pt x="5935" y="3082"/>
                </a:lnTo>
                <a:lnTo>
                  <a:pt x="5908" y="3084"/>
                </a:lnTo>
                <a:lnTo>
                  <a:pt x="5880" y="3082"/>
                </a:lnTo>
                <a:lnTo>
                  <a:pt x="5853" y="3077"/>
                </a:lnTo>
                <a:lnTo>
                  <a:pt x="5828" y="3070"/>
                </a:lnTo>
                <a:lnTo>
                  <a:pt x="5803" y="3060"/>
                </a:lnTo>
                <a:lnTo>
                  <a:pt x="5780" y="3048"/>
                </a:lnTo>
                <a:lnTo>
                  <a:pt x="5758" y="3033"/>
                </a:lnTo>
                <a:lnTo>
                  <a:pt x="5738" y="3016"/>
                </a:lnTo>
                <a:lnTo>
                  <a:pt x="5720" y="2997"/>
                </a:lnTo>
                <a:lnTo>
                  <a:pt x="5703" y="2977"/>
                </a:lnTo>
                <a:lnTo>
                  <a:pt x="5687" y="2955"/>
                </a:lnTo>
                <a:lnTo>
                  <a:pt x="5675" y="2931"/>
                </a:lnTo>
                <a:lnTo>
                  <a:pt x="5664" y="2906"/>
                </a:lnTo>
                <a:lnTo>
                  <a:pt x="5655" y="2879"/>
                </a:lnTo>
                <a:lnTo>
                  <a:pt x="5648" y="2852"/>
                </a:lnTo>
                <a:lnTo>
                  <a:pt x="5645" y="2825"/>
                </a:lnTo>
                <a:lnTo>
                  <a:pt x="5643" y="2796"/>
                </a:lnTo>
                <a:lnTo>
                  <a:pt x="5643" y="2718"/>
                </a:lnTo>
                <a:lnTo>
                  <a:pt x="5645" y="2689"/>
                </a:lnTo>
                <a:lnTo>
                  <a:pt x="5648" y="2660"/>
                </a:lnTo>
                <a:lnTo>
                  <a:pt x="5655" y="2633"/>
                </a:lnTo>
                <a:lnTo>
                  <a:pt x="5664" y="2606"/>
                </a:lnTo>
                <a:lnTo>
                  <a:pt x="5675" y="2581"/>
                </a:lnTo>
                <a:lnTo>
                  <a:pt x="5687" y="2557"/>
                </a:lnTo>
                <a:lnTo>
                  <a:pt x="5703" y="2535"/>
                </a:lnTo>
                <a:lnTo>
                  <a:pt x="5720" y="2514"/>
                </a:lnTo>
                <a:lnTo>
                  <a:pt x="5618" y="2492"/>
                </a:lnTo>
                <a:lnTo>
                  <a:pt x="5618" y="2426"/>
                </a:lnTo>
                <a:lnTo>
                  <a:pt x="5962" y="2415"/>
                </a:lnTo>
                <a:lnTo>
                  <a:pt x="5979" y="2416"/>
                </a:lnTo>
                <a:lnTo>
                  <a:pt x="5996" y="2420"/>
                </a:lnTo>
                <a:lnTo>
                  <a:pt x="6013" y="2425"/>
                </a:lnTo>
                <a:lnTo>
                  <a:pt x="6030" y="2433"/>
                </a:lnTo>
                <a:lnTo>
                  <a:pt x="6048" y="2443"/>
                </a:lnTo>
                <a:lnTo>
                  <a:pt x="6065" y="2457"/>
                </a:lnTo>
                <a:lnTo>
                  <a:pt x="6082" y="2472"/>
                </a:lnTo>
                <a:lnTo>
                  <a:pt x="6097" y="2489"/>
                </a:lnTo>
                <a:lnTo>
                  <a:pt x="6113" y="2509"/>
                </a:lnTo>
                <a:lnTo>
                  <a:pt x="6128" y="2530"/>
                </a:lnTo>
                <a:lnTo>
                  <a:pt x="6140" y="2553"/>
                </a:lnTo>
                <a:lnTo>
                  <a:pt x="6150" y="2581"/>
                </a:lnTo>
                <a:lnTo>
                  <a:pt x="6160" y="2608"/>
                </a:lnTo>
                <a:lnTo>
                  <a:pt x="6165" y="2638"/>
                </a:lnTo>
                <a:lnTo>
                  <a:pt x="6170" y="2669"/>
                </a:lnTo>
                <a:lnTo>
                  <a:pt x="6172" y="2703"/>
                </a:lnTo>
                <a:lnTo>
                  <a:pt x="6172" y="2713"/>
                </a:lnTo>
                <a:close/>
                <a:moveTo>
                  <a:pt x="5801" y="2531"/>
                </a:moveTo>
                <a:lnTo>
                  <a:pt x="5801" y="2531"/>
                </a:lnTo>
                <a:lnTo>
                  <a:pt x="5782" y="2547"/>
                </a:lnTo>
                <a:lnTo>
                  <a:pt x="5765" y="2565"/>
                </a:lnTo>
                <a:lnTo>
                  <a:pt x="5750" y="2586"/>
                </a:lnTo>
                <a:lnTo>
                  <a:pt x="5736" y="2609"/>
                </a:lnTo>
                <a:lnTo>
                  <a:pt x="5726" y="2633"/>
                </a:lnTo>
                <a:lnTo>
                  <a:pt x="5718" y="2660"/>
                </a:lnTo>
                <a:lnTo>
                  <a:pt x="5713" y="2687"/>
                </a:lnTo>
                <a:lnTo>
                  <a:pt x="5711" y="2718"/>
                </a:lnTo>
                <a:lnTo>
                  <a:pt x="5711" y="2796"/>
                </a:lnTo>
                <a:lnTo>
                  <a:pt x="5713" y="2818"/>
                </a:lnTo>
                <a:lnTo>
                  <a:pt x="5716" y="2840"/>
                </a:lnTo>
                <a:lnTo>
                  <a:pt x="5721" y="2862"/>
                </a:lnTo>
                <a:lnTo>
                  <a:pt x="5728" y="2882"/>
                </a:lnTo>
                <a:lnTo>
                  <a:pt x="5736" y="2903"/>
                </a:lnTo>
                <a:lnTo>
                  <a:pt x="5745" y="2919"/>
                </a:lnTo>
                <a:lnTo>
                  <a:pt x="5757" y="2936"/>
                </a:lnTo>
                <a:lnTo>
                  <a:pt x="5770" y="2953"/>
                </a:lnTo>
                <a:lnTo>
                  <a:pt x="5784" y="2967"/>
                </a:lnTo>
                <a:lnTo>
                  <a:pt x="5799" y="2979"/>
                </a:lnTo>
                <a:lnTo>
                  <a:pt x="5816" y="2991"/>
                </a:lnTo>
                <a:lnTo>
                  <a:pt x="5833" y="2999"/>
                </a:lnTo>
                <a:lnTo>
                  <a:pt x="5850" y="3006"/>
                </a:lnTo>
                <a:lnTo>
                  <a:pt x="5869" y="3011"/>
                </a:lnTo>
                <a:lnTo>
                  <a:pt x="5887" y="3014"/>
                </a:lnTo>
                <a:lnTo>
                  <a:pt x="5908" y="3016"/>
                </a:lnTo>
                <a:lnTo>
                  <a:pt x="5926" y="3014"/>
                </a:lnTo>
                <a:lnTo>
                  <a:pt x="5945" y="3011"/>
                </a:lnTo>
                <a:lnTo>
                  <a:pt x="5963" y="3006"/>
                </a:lnTo>
                <a:lnTo>
                  <a:pt x="5982" y="2999"/>
                </a:lnTo>
                <a:lnTo>
                  <a:pt x="5999" y="2991"/>
                </a:lnTo>
                <a:lnTo>
                  <a:pt x="6014" y="2980"/>
                </a:lnTo>
                <a:lnTo>
                  <a:pt x="6030" y="2967"/>
                </a:lnTo>
                <a:lnTo>
                  <a:pt x="6043" y="2953"/>
                </a:lnTo>
                <a:lnTo>
                  <a:pt x="6057" y="2938"/>
                </a:lnTo>
                <a:lnTo>
                  <a:pt x="6068" y="2921"/>
                </a:lnTo>
                <a:lnTo>
                  <a:pt x="6079" y="2904"/>
                </a:lnTo>
                <a:lnTo>
                  <a:pt x="6087" y="2886"/>
                </a:lnTo>
                <a:lnTo>
                  <a:pt x="6094" y="2865"/>
                </a:lnTo>
                <a:lnTo>
                  <a:pt x="6099" y="2843"/>
                </a:lnTo>
                <a:lnTo>
                  <a:pt x="6102" y="2821"/>
                </a:lnTo>
                <a:lnTo>
                  <a:pt x="6104" y="2799"/>
                </a:lnTo>
                <a:lnTo>
                  <a:pt x="5985" y="2838"/>
                </a:lnTo>
                <a:lnTo>
                  <a:pt x="5977" y="2669"/>
                </a:lnTo>
                <a:lnTo>
                  <a:pt x="5853" y="2669"/>
                </a:lnTo>
                <a:lnTo>
                  <a:pt x="5899" y="2552"/>
                </a:lnTo>
                <a:lnTo>
                  <a:pt x="5801" y="2531"/>
                </a:lnTo>
                <a:close/>
                <a:moveTo>
                  <a:pt x="4183" y="293"/>
                </a:moveTo>
                <a:lnTo>
                  <a:pt x="4279" y="274"/>
                </a:lnTo>
                <a:lnTo>
                  <a:pt x="4508" y="1596"/>
                </a:lnTo>
                <a:lnTo>
                  <a:pt x="4412" y="1615"/>
                </a:lnTo>
                <a:lnTo>
                  <a:pt x="4371" y="1474"/>
                </a:lnTo>
                <a:lnTo>
                  <a:pt x="4352" y="1405"/>
                </a:lnTo>
                <a:lnTo>
                  <a:pt x="4334" y="1333"/>
                </a:lnTo>
                <a:lnTo>
                  <a:pt x="4317" y="1262"/>
                </a:lnTo>
                <a:lnTo>
                  <a:pt x="4300" y="1191"/>
                </a:lnTo>
                <a:lnTo>
                  <a:pt x="4285" y="1120"/>
                </a:lnTo>
                <a:lnTo>
                  <a:pt x="4271" y="1049"/>
                </a:lnTo>
                <a:lnTo>
                  <a:pt x="3990" y="1769"/>
                </a:lnTo>
                <a:lnTo>
                  <a:pt x="3983" y="1793"/>
                </a:lnTo>
                <a:lnTo>
                  <a:pt x="3980" y="1811"/>
                </a:lnTo>
                <a:lnTo>
                  <a:pt x="3981" y="1827"/>
                </a:lnTo>
                <a:lnTo>
                  <a:pt x="3983" y="1833"/>
                </a:lnTo>
                <a:lnTo>
                  <a:pt x="3985" y="1840"/>
                </a:lnTo>
                <a:lnTo>
                  <a:pt x="3988" y="1845"/>
                </a:lnTo>
                <a:lnTo>
                  <a:pt x="3991" y="1850"/>
                </a:lnTo>
                <a:lnTo>
                  <a:pt x="4002" y="1857"/>
                </a:lnTo>
                <a:lnTo>
                  <a:pt x="4015" y="1862"/>
                </a:lnTo>
                <a:lnTo>
                  <a:pt x="4029" y="1862"/>
                </a:lnTo>
                <a:lnTo>
                  <a:pt x="5697" y="1862"/>
                </a:lnTo>
                <a:lnTo>
                  <a:pt x="5697" y="1930"/>
                </a:lnTo>
                <a:lnTo>
                  <a:pt x="4029" y="1930"/>
                </a:lnTo>
                <a:lnTo>
                  <a:pt x="4008" y="1930"/>
                </a:lnTo>
                <a:lnTo>
                  <a:pt x="3990" y="1927"/>
                </a:lnTo>
                <a:lnTo>
                  <a:pt x="3973" y="1920"/>
                </a:lnTo>
                <a:lnTo>
                  <a:pt x="3959" y="1913"/>
                </a:lnTo>
                <a:lnTo>
                  <a:pt x="3947" y="1903"/>
                </a:lnTo>
                <a:lnTo>
                  <a:pt x="3937" y="1893"/>
                </a:lnTo>
                <a:lnTo>
                  <a:pt x="3929" y="1881"/>
                </a:lnTo>
                <a:lnTo>
                  <a:pt x="3922" y="1867"/>
                </a:lnTo>
                <a:lnTo>
                  <a:pt x="3919" y="1854"/>
                </a:lnTo>
                <a:lnTo>
                  <a:pt x="3915" y="1838"/>
                </a:lnTo>
                <a:lnTo>
                  <a:pt x="3914" y="1823"/>
                </a:lnTo>
                <a:lnTo>
                  <a:pt x="3914" y="1808"/>
                </a:lnTo>
                <a:lnTo>
                  <a:pt x="3915" y="1791"/>
                </a:lnTo>
                <a:lnTo>
                  <a:pt x="3917" y="1776"/>
                </a:lnTo>
                <a:lnTo>
                  <a:pt x="3922" y="1760"/>
                </a:lnTo>
                <a:lnTo>
                  <a:pt x="3927" y="1745"/>
                </a:lnTo>
                <a:lnTo>
                  <a:pt x="4249" y="922"/>
                </a:lnTo>
                <a:lnTo>
                  <a:pt x="4235" y="844"/>
                </a:lnTo>
                <a:lnTo>
                  <a:pt x="4225" y="766"/>
                </a:lnTo>
                <a:lnTo>
                  <a:pt x="4215" y="688"/>
                </a:lnTo>
                <a:lnTo>
                  <a:pt x="4207" y="610"/>
                </a:lnTo>
                <a:lnTo>
                  <a:pt x="4200" y="530"/>
                </a:lnTo>
                <a:lnTo>
                  <a:pt x="4193" y="452"/>
                </a:lnTo>
                <a:lnTo>
                  <a:pt x="4188" y="373"/>
                </a:lnTo>
                <a:lnTo>
                  <a:pt x="4183" y="293"/>
                </a:lnTo>
                <a:close/>
                <a:moveTo>
                  <a:pt x="2555" y="2696"/>
                </a:moveTo>
                <a:lnTo>
                  <a:pt x="2555" y="2696"/>
                </a:lnTo>
                <a:lnTo>
                  <a:pt x="2550" y="2775"/>
                </a:lnTo>
                <a:lnTo>
                  <a:pt x="2545" y="2855"/>
                </a:lnTo>
                <a:lnTo>
                  <a:pt x="2540" y="2933"/>
                </a:lnTo>
                <a:lnTo>
                  <a:pt x="2531" y="3013"/>
                </a:lnTo>
                <a:lnTo>
                  <a:pt x="2523" y="3091"/>
                </a:lnTo>
                <a:lnTo>
                  <a:pt x="2512" y="3169"/>
                </a:lnTo>
                <a:lnTo>
                  <a:pt x="2502" y="3246"/>
                </a:lnTo>
                <a:lnTo>
                  <a:pt x="2490" y="3324"/>
                </a:lnTo>
                <a:lnTo>
                  <a:pt x="2811" y="4148"/>
                </a:lnTo>
                <a:lnTo>
                  <a:pt x="2817" y="4163"/>
                </a:lnTo>
                <a:lnTo>
                  <a:pt x="2821" y="4178"/>
                </a:lnTo>
                <a:lnTo>
                  <a:pt x="2824" y="4194"/>
                </a:lnTo>
                <a:lnTo>
                  <a:pt x="2824" y="4211"/>
                </a:lnTo>
                <a:lnTo>
                  <a:pt x="2824" y="4226"/>
                </a:lnTo>
                <a:lnTo>
                  <a:pt x="2822" y="4241"/>
                </a:lnTo>
                <a:lnTo>
                  <a:pt x="2821" y="4256"/>
                </a:lnTo>
                <a:lnTo>
                  <a:pt x="2816" y="4270"/>
                </a:lnTo>
                <a:lnTo>
                  <a:pt x="2809" y="4283"/>
                </a:lnTo>
                <a:lnTo>
                  <a:pt x="2800" y="4295"/>
                </a:lnTo>
                <a:lnTo>
                  <a:pt x="2790" y="4305"/>
                </a:lnTo>
                <a:lnTo>
                  <a:pt x="2778" y="4316"/>
                </a:lnTo>
                <a:lnTo>
                  <a:pt x="2765" y="4322"/>
                </a:lnTo>
                <a:lnTo>
                  <a:pt x="2748" y="4329"/>
                </a:lnTo>
                <a:lnTo>
                  <a:pt x="2729" y="4333"/>
                </a:lnTo>
                <a:lnTo>
                  <a:pt x="2709" y="4333"/>
                </a:lnTo>
                <a:lnTo>
                  <a:pt x="1040" y="4333"/>
                </a:lnTo>
                <a:lnTo>
                  <a:pt x="1040" y="4265"/>
                </a:lnTo>
                <a:lnTo>
                  <a:pt x="2709" y="4265"/>
                </a:lnTo>
                <a:lnTo>
                  <a:pt x="2724" y="4265"/>
                </a:lnTo>
                <a:lnTo>
                  <a:pt x="2736" y="4260"/>
                </a:lnTo>
                <a:lnTo>
                  <a:pt x="2746" y="4253"/>
                </a:lnTo>
                <a:lnTo>
                  <a:pt x="2750" y="4248"/>
                </a:lnTo>
                <a:lnTo>
                  <a:pt x="2753" y="4243"/>
                </a:lnTo>
                <a:lnTo>
                  <a:pt x="2756" y="4236"/>
                </a:lnTo>
                <a:lnTo>
                  <a:pt x="2758" y="4229"/>
                </a:lnTo>
                <a:lnTo>
                  <a:pt x="2758" y="4214"/>
                </a:lnTo>
                <a:lnTo>
                  <a:pt x="2755" y="4195"/>
                </a:lnTo>
                <a:lnTo>
                  <a:pt x="2748" y="4172"/>
                </a:lnTo>
                <a:lnTo>
                  <a:pt x="2467" y="3451"/>
                </a:lnTo>
                <a:lnTo>
                  <a:pt x="2453" y="3523"/>
                </a:lnTo>
                <a:lnTo>
                  <a:pt x="2438" y="3594"/>
                </a:lnTo>
                <a:lnTo>
                  <a:pt x="2421" y="3665"/>
                </a:lnTo>
                <a:lnTo>
                  <a:pt x="2404" y="3736"/>
                </a:lnTo>
                <a:lnTo>
                  <a:pt x="2387" y="3807"/>
                </a:lnTo>
                <a:lnTo>
                  <a:pt x="2367" y="3877"/>
                </a:lnTo>
                <a:lnTo>
                  <a:pt x="2326" y="4017"/>
                </a:lnTo>
                <a:lnTo>
                  <a:pt x="2230" y="3999"/>
                </a:lnTo>
                <a:lnTo>
                  <a:pt x="2458" y="2677"/>
                </a:lnTo>
                <a:lnTo>
                  <a:pt x="2555" y="2696"/>
                </a:lnTo>
                <a:close/>
                <a:moveTo>
                  <a:pt x="4183" y="2696"/>
                </a:moveTo>
                <a:lnTo>
                  <a:pt x="4279" y="2677"/>
                </a:lnTo>
                <a:lnTo>
                  <a:pt x="4508" y="3999"/>
                </a:lnTo>
                <a:lnTo>
                  <a:pt x="4412" y="4017"/>
                </a:lnTo>
                <a:lnTo>
                  <a:pt x="4371" y="3877"/>
                </a:lnTo>
                <a:lnTo>
                  <a:pt x="4352" y="3807"/>
                </a:lnTo>
                <a:lnTo>
                  <a:pt x="4334" y="3736"/>
                </a:lnTo>
                <a:lnTo>
                  <a:pt x="4317" y="3665"/>
                </a:lnTo>
                <a:lnTo>
                  <a:pt x="4300" y="3594"/>
                </a:lnTo>
                <a:lnTo>
                  <a:pt x="4285" y="3523"/>
                </a:lnTo>
                <a:lnTo>
                  <a:pt x="4271" y="3451"/>
                </a:lnTo>
                <a:lnTo>
                  <a:pt x="3990" y="4172"/>
                </a:lnTo>
                <a:lnTo>
                  <a:pt x="3983" y="4195"/>
                </a:lnTo>
                <a:lnTo>
                  <a:pt x="3980" y="4214"/>
                </a:lnTo>
                <a:lnTo>
                  <a:pt x="3981" y="4229"/>
                </a:lnTo>
                <a:lnTo>
                  <a:pt x="3983" y="4236"/>
                </a:lnTo>
                <a:lnTo>
                  <a:pt x="3985" y="4243"/>
                </a:lnTo>
                <a:lnTo>
                  <a:pt x="3988" y="4248"/>
                </a:lnTo>
                <a:lnTo>
                  <a:pt x="3991" y="4253"/>
                </a:lnTo>
                <a:lnTo>
                  <a:pt x="4002" y="4260"/>
                </a:lnTo>
                <a:lnTo>
                  <a:pt x="4015" y="4265"/>
                </a:lnTo>
                <a:lnTo>
                  <a:pt x="4029" y="4265"/>
                </a:lnTo>
                <a:lnTo>
                  <a:pt x="5697" y="4265"/>
                </a:lnTo>
                <a:lnTo>
                  <a:pt x="5697" y="4333"/>
                </a:lnTo>
                <a:lnTo>
                  <a:pt x="4029" y="4333"/>
                </a:lnTo>
                <a:lnTo>
                  <a:pt x="4008" y="4333"/>
                </a:lnTo>
                <a:lnTo>
                  <a:pt x="3990" y="4329"/>
                </a:lnTo>
                <a:lnTo>
                  <a:pt x="3973" y="4322"/>
                </a:lnTo>
                <a:lnTo>
                  <a:pt x="3959" y="4316"/>
                </a:lnTo>
                <a:lnTo>
                  <a:pt x="3947" y="4305"/>
                </a:lnTo>
                <a:lnTo>
                  <a:pt x="3937" y="4295"/>
                </a:lnTo>
                <a:lnTo>
                  <a:pt x="3929" y="4283"/>
                </a:lnTo>
                <a:lnTo>
                  <a:pt x="3922" y="4270"/>
                </a:lnTo>
                <a:lnTo>
                  <a:pt x="3919" y="4256"/>
                </a:lnTo>
                <a:lnTo>
                  <a:pt x="3915" y="4241"/>
                </a:lnTo>
                <a:lnTo>
                  <a:pt x="3914" y="4226"/>
                </a:lnTo>
                <a:lnTo>
                  <a:pt x="3914" y="4211"/>
                </a:lnTo>
                <a:lnTo>
                  <a:pt x="3915" y="4194"/>
                </a:lnTo>
                <a:lnTo>
                  <a:pt x="3917" y="4178"/>
                </a:lnTo>
                <a:lnTo>
                  <a:pt x="3922" y="4163"/>
                </a:lnTo>
                <a:lnTo>
                  <a:pt x="3927" y="4148"/>
                </a:lnTo>
                <a:lnTo>
                  <a:pt x="4249" y="3324"/>
                </a:lnTo>
                <a:lnTo>
                  <a:pt x="4235" y="3246"/>
                </a:lnTo>
                <a:lnTo>
                  <a:pt x="4225" y="3169"/>
                </a:lnTo>
                <a:lnTo>
                  <a:pt x="4215" y="3091"/>
                </a:lnTo>
                <a:lnTo>
                  <a:pt x="4207" y="3013"/>
                </a:lnTo>
                <a:lnTo>
                  <a:pt x="4200" y="2933"/>
                </a:lnTo>
                <a:lnTo>
                  <a:pt x="4193" y="2855"/>
                </a:lnTo>
                <a:lnTo>
                  <a:pt x="4188" y="2775"/>
                </a:lnTo>
                <a:lnTo>
                  <a:pt x="4183" y="2696"/>
                </a:lnTo>
                <a:close/>
                <a:moveTo>
                  <a:pt x="1991" y="4109"/>
                </a:moveTo>
                <a:lnTo>
                  <a:pt x="1991" y="4109"/>
                </a:lnTo>
                <a:lnTo>
                  <a:pt x="1994" y="4109"/>
                </a:lnTo>
                <a:lnTo>
                  <a:pt x="1999" y="4109"/>
                </a:lnTo>
                <a:lnTo>
                  <a:pt x="2001" y="4107"/>
                </a:lnTo>
                <a:lnTo>
                  <a:pt x="2003" y="4106"/>
                </a:lnTo>
                <a:lnTo>
                  <a:pt x="2004" y="4102"/>
                </a:lnTo>
                <a:lnTo>
                  <a:pt x="2003" y="4100"/>
                </a:lnTo>
                <a:lnTo>
                  <a:pt x="2001" y="4097"/>
                </a:lnTo>
                <a:lnTo>
                  <a:pt x="1999" y="4095"/>
                </a:lnTo>
                <a:lnTo>
                  <a:pt x="1864" y="4004"/>
                </a:lnTo>
                <a:lnTo>
                  <a:pt x="1843" y="3994"/>
                </a:lnTo>
                <a:lnTo>
                  <a:pt x="1825" y="3985"/>
                </a:lnTo>
                <a:lnTo>
                  <a:pt x="1804" y="3980"/>
                </a:lnTo>
                <a:lnTo>
                  <a:pt x="1784" y="3980"/>
                </a:lnTo>
                <a:lnTo>
                  <a:pt x="1465" y="3982"/>
                </a:lnTo>
                <a:lnTo>
                  <a:pt x="1465" y="3914"/>
                </a:lnTo>
                <a:lnTo>
                  <a:pt x="1782" y="3914"/>
                </a:lnTo>
                <a:lnTo>
                  <a:pt x="1811" y="3916"/>
                </a:lnTo>
                <a:lnTo>
                  <a:pt x="1825" y="3916"/>
                </a:lnTo>
                <a:lnTo>
                  <a:pt x="1838" y="3919"/>
                </a:lnTo>
                <a:lnTo>
                  <a:pt x="1852" y="3923"/>
                </a:lnTo>
                <a:lnTo>
                  <a:pt x="1864" y="3928"/>
                </a:lnTo>
                <a:lnTo>
                  <a:pt x="1875" y="3933"/>
                </a:lnTo>
                <a:lnTo>
                  <a:pt x="1887" y="3941"/>
                </a:lnTo>
                <a:lnTo>
                  <a:pt x="2036" y="4061"/>
                </a:lnTo>
                <a:lnTo>
                  <a:pt x="2045" y="4070"/>
                </a:lnTo>
                <a:lnTo>
                  <a:pt x="2053" y="4078"/>
                </a:lnTo>
                <a:lnTo>
                  <a:pt x="2058" y="4089"/>
                </a:lnTo>
                <a:lnTo>
                  <a:pt x="2062" y="4099"/>
                </a:lnTo>
                <a:lnTo>
                  <a:pt x="2065" y="4107"/>
                </a:lnTo>
                <a:lnTo>
                  <a:pt x="2065" y="4117"/>
                </a:lnTo>
                <a:lnTo>
                  <a:pt x="2063" y="4126"/>
                </a:lnTo>
                <a:lnTo>
                  <a:pt x="2062" y="4134"/>
                </a:lnTo>
                <a:lnTo>
                  <a:pt x="2058" y="4143"/>
                </a:lnTo>
                <a:lnTo>
                  <a:pt x="2053" y="4150"/>
                </a:lnTo>
                <a:lnTo>
                  <a:pt x="2048" y="4155"/>
                </a:lnTo>
                <a:lnTo>
                  <a:pt x="2041" y="4160"/>
                </a:lnTo>
                <a:lnTo>
                  <a:pt x="2035" y="4163"/>
                </a:lnTo>
                <a:lnTo>
                  <a:pt x="2026" y="4165"/>
                </a:lnTo>
                <a:lnTo>
                  <a:pt x="2018" y="4165"/>
                </a:lnTo>
                <a:lnTo>
                  <a:pt x="2008" y="4163"/>
                </a:lnTo>
                <a:lnTo>
                  <a:pt x="1962" y="4153"/>
                </a:lnTo>
                <a:lnTo>
                  <a:pt x="1962" y="4194"/>
                </a:lnTo>
                <a:lnTo>
                  <a:pt x="1586" y="4194"/>
                </a:lnTo>
                <a:lnTo>
                  <a:pt x="1586" y="4175"/>
                </a:lnTo>
                <a:lnTo>
                  <a:pt x="1537" y="4187"/>
                </a:lnTo>
                <a:lnTo>
                  <a:pt x="1535" y="4117"/>
                </a:lnTo>
                <a:lnTo>
                  <a:pt x="1833" y="4050"/>
                </a:lnTo>
                <a:lnTo>
                  <a:pt x="1991" y="4109"/>
                </a:lnTo>
                <a:close/>
                <a:moveTo>
                  <a:pt x="4752" y="1699"/>
                </a:moveTo>
                <a:lnTo>
                  <a:pt x="4908" y="1642"/>
                </a:lnTo>
                <a:lnTo>
                  <a:pt x="5206" y="1710"/>
                </a:lnTo>
                <a:lnTo>
                  <a:pt x="5204" y="1779"/>
                </a:lnTo>
                <a:lnTo>
                  <a:pt x="5157" y="1767"/>
                </a:lnTo>
                <a:lnTo>
                  <a:pt x="5157" y="1786"/>
                </a:lnTo>
                <a:lnTo>
                  <a:pt x="4779" y="1786"/>
                </a:lnTo>
                <a:lnTo>
                  <a:pt x="4779" y="1744"/>
                </a:lnTo>
                <a:lnTo>
                  <a:pt x="4733" y="1755"/>
                </a:lnTo>
                <a:lnTo>
                  <a:pt x="4725" y="1757"/>
                </a:lnTo>
                <a:lnTo>
                  <a:pt x="4717" y="1757"/>
                </a:lnTo>
                <a:lnTo>
                  <a:pt x="4708" y="1754"/>
                </a:lnTo>
                <a:lnTo>
                  <a:pt x="4701" y="1750"/>
                </a:lnTo>
                <a:lnTo>
                  <a:pt x="4695" y="1747"/>
                </a:lnTo>
                <a:lnTo>
                  <a:pt x="4688" y="1740"/>
                </a:lnTo>
                <a:lnTo>
                  <a:pt x="4684" y="1733"/>
                </a:lnTo>
                <a:lnTo>
                  <a:pt x="4679" y="1727"/>
                </a:lnTo>
                <a:lnTo>
                  <a:pt x="4678" y="1718"/>
                </a:lnTo>
                <a:lnTo>
                  <a:pt x="4678" y="1710"/>
                </a:lnTo>
                <a:lnTo>
                  <a:pt x="4678" y="1699"/>
                </a:lnTo>
                <a:lnTo>
                  <a:pt x="4679" y="1691"/>
                </a:lnTo>
                <a:lnTo>
                  <a:pt x="4683" y="1681"/>
                </a:lnTo>
                <a:lnTo>
                  <a:pt x="4689" y="1671"/>
                </a:lnTo>
                <a:lnTo>
                  <a:pt x="4696" y="1662"/>
                </a:lnTo>
                <a:lnTo>
                  <a:pt x="4706" y="1652"/>
                </a:lnTo>
                <a:lnTo>
                  <a:pt x="4855" y="1533"/>
                </a:lnTo>
                <a:lnTo>
                  <a:pt x="4866" y="1525"/>
                </a:lnTo>
                <a:lnTo>
                  <a:pt x="4878" y="1520"/>
                </a:lnTo>
                <a:lnTo>
                  <a:pt x="4891" y="1515"/>
                </a:lnTo>
                <a:lnTo>
                  <a:pt x="4905" y="1511"/>
                </a:lnTo>
                <a:lnTo>
                  <a:pt x="4916" y="1508"/>
                </a:lnTo>
                <a:lnTo>
                  <a:pt x="4932" y="1506"/>
                </a:lnTo>
                <a:lnTo>
                  <a:pt x="4961" y="1506"/>
                </a:lnTo>
                <a:lnTo>
                  <a:pt x="5277" y="1506"/>
                </a:lnTo>
                <a:lnTo>
                  <a:pt x="5277" y="1574"/>
                </a:lnTo>
                <a:lnTo>
                  <a:pt x="4959" y="1571"/>
                </a:lnTo>
                <a:lnTo>
                  <a:pt x="4937" y="1572"/>
                </a:lnTo>
                <a:lnTo>
                  <a:pt x="4918" y="1577"/>
                </a:lnTo>
                <a:lnTo>
                  <a:pt x="4898" y="1584"/>
                </a:lnTo>
                <a:lnTo>
                  <a:pt x="4879" y="1596"/>
                </a:lnTo>
                <a:lnTo>
                  <a:pt x="4744" y="1686"/>
                </a:lnTo>
                <a:lnTo>
                  <a:pt x="4740" y="1689"/>
                </a:lnTo>
                <a:lnTo>
                  <a:pt x="4739" y="1691"/>
                </a:lnTo>
                <a:lnTo>
                  <a:pt x="4739" y="1694"/>
                </a:lnTo>
                <a:lnTo>
                  <a:pt x="4739" y="1698"/>
                </a:lnTo>
                <a:lnTo>
                  <a:pt x="4740" y="1699"/>
                </a:lnTo>
                <a:lnTo>
                  <a:pt x="4744" y="1701"/>
                </a:lnTo>
                <a:lnTo>
                  <a:pt x="4747" y="1701"/>
                </a:lnTo>
                <a:lnTo>
                  <a:pt x="4752" y="16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id="{2EC19D45-0D4D-467B-94C6-57B6CE16B8C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55107" y="5336313"/>
            <a:ext cx="676700" cy="456724"/>
          </a:xfrm>
          <a:custGeom>
            <a:avLst/>
            <a:gdLst>
              <a:gd name="T0" fmla="*/ 2147483647 w 6736"/>
              <a:gd name="T1" fmla="*/ 2147483647 h 4541"/>
              <a:gd name="T2" fmla="*/ 2147483647 w 6736"/>
              <a:gd name="T3" fmla="*/ 2147483647 h 4541"/>
              <a:gd name="T4" fmla="*/ 2147483647 w 6736"/>
              <a:gd name="T5" fmla="*/ 2147483647 h 4541"/>
              <a:gd name="T6" fmla="*/ 2147483647 w 6736"/>
              <a:gd name="T7" fmla="*/ 2147483647 h 4541"/>
              <a:gd name="T8" fmla="*/ 2147483647 w 6736"/>
              <a:gd name="T9" fmla="*/ 2147483647 h 4541"/>
              <a:gd name="T10" fmla="*/ 2147483647 w 6736"/>
              <a:gd name="T11" fmla="*/ 2147483647 h 4541"/>
              <a:gd name="T12" fmla="*/ 2147483647 w 6736"/>
              <a:gd name="T13" fmla="*/ 2147483647 h 4541"/>
              <a:gd name="T14" fmla="*/ 2147483647 w 6736"/>
              <a:gd name="T15" fmla="*/ 2147483647 h 4541"/>
              <a:gd name="T16" fmla="*/ 2147483647 w 6736"/>
              <a:gd name="T17" fmla="*/ 2147483647 h 4541"/>
              <a:gd name="T18" fmla="*/ 2147483647 w 6736"/>
              <a:gd name="T19" fmla="*/ 2147483647 h 4541"/>
              <a:gd name="T20" fmla="*/ 2147483647 w 6736"/>
              <a:gd name="T21" fmla="*/ 2147483647 h 4541"/>
              <a:gd name="T22" fmla="*/ 2147483647 w 6736"/>
              <a:gd name="T23" fmla="*/ 2147483647 h 4541"/>
              <a:gd name="T24" fmla="*/ 2147483647 w 6736"/>
              <a:gd name="T25" fmla="*/ 2147483647 h 4541"/>
              <a:gd name="T26" fmla="*/ 2147483647 w 6736"/>
              <a:gd name="T27" fmla="*/ 2147483647 h 4541"/>
              <a:gd name="T28" fmla="*/ 2147483647 w 6736"/>
              <a:gd name="T29" fmla="*/ 2147483647 h 4541"/>
              <a:gd name="T30" fmla="*/ 2147483647 w 6736"/>
              <a:gd name="T31" fmla="*/ 2147483647 h 4541"/>
              <a:gd name="T32" fmla="*/ 2147483647 w 6736"/>
              <a:gd name="T33" fmla="*/ 2147483647 h 4541"/>
              <a:gd name="T34" fmla="*/ 2147483647 w 6736"/>
              <a:gd name="T35" fmla="*/ 2147483647 h 4541"/>
              <a:gd name="T36" fmla="*/ 2147483647 w 6736"/>
              <a:gd name="T37" fmla="*/ 2147483647 h 4541"/>
              <a:gd name="T38" fmla="*/ 2147483647 w 6736"/>
              <a:gd name="T39" fmla="*/ 2147483647 h 4541"/>
              <a:gd name="T40" fmla="*/ 2147483647 w 6736"/>
              <a:gd name="T41" fmla="*/ 2147483647 h 4541"/>
              <a:gd name="T42" fmla="*/ 2147483647 w 6736"/>
              <a:gd name="T43" fmla="*/ 2147483647 h 4541"/>
              <a:gd name="T44" fmla="*/ 2147483647 w 6736"/>
              <a:gd name="T45" fmla="*/ 2147483647 h 4541"/>
              <a:gd name="T46" fmla="*/ 2147483647 w 6736"/>
              <a:gd name="T47" fmla="*/ 2147483647 h 4541"/>
              <a:gd name="T48" fmla="*/ 2147483647 w 6736"/>
              <a:gd name="T49" fmla="*/ 2147483647 h 4541"/>
              <a:gd name="T50" fmla="*/ 2147483647 w 6736"/>
              <a:gd name="T51" fmla="*/ 2147483647 h 4541"/>
              <a:gd name="T52" fmla="*/ 2147483647 w 6736"/>
              <a:gd name="T53" fmla="*/ 2147483647 h 4541"/>
              <a:gd name="T54" fmla="*/ 2147483647 w 6736"/>
              <a:gd name="T55" fmla="*/ 2147483647 h 4541"/>
              <a:gd name="T56" fmla="*/ 2147483647 w 6736"/>
              <a:gd name="T57" fmla="*/ 2147483647 h 4541"/>
              <a:gd name="T58" fmla="*/ 2147483647 w 6736"/>
              <a:gd name="T59" fmla="*/ 2147483647 h 4541"/>
              <a:gd name="T60" fmla="*/ 2147483647 w 6736"/>
              <a:gd name="T61" fmla="*/ 2147483647 h 4541"/>
              <a:gd name="T62" fmla="*/ 2147483647 w 6736"/>
              <a:gd name="T63" fmla="*/ 2147483647 h 4541"/>
              <a:gd name="T64" fmla="*/ 2147483647 w 6736"/>
              <a:gd name="T65" fmla="*/ 2147483647 h 4541"/>
              <a:gd name="T66" fmla="*/ 2147483647 w 6736"/>
              <a:gd name="T67" fmla="*/ 2147483647 h 4541"/>
              <a:gd name="T68" fmla="*/ 2147483647 w 6736"/>
              <a:gd name="T69" fmla="*/ 2147483647 h 4541"/>
              <a:gd name="T70" fmla="*/ 2147483647 w 6736"/>
              <a:gd name="T71" fmla="*/ 2147483647 h 4541"/>
              <a:gd name="T72" fmla="*/ 2147483647 w 6736"/>
              <a:gd name="T73" fmla="*/ 2147483647 h 4541"/>
              <a:gd name="T74" fmla="*/ 2147483647 w 6736"/>
              <a:gd name="T75" fmla="*/ 2147483647 h 4541"/>
              <a:gd name="T76" fmla="*/ 2147483647 w 6736"/>
              <a:gd name="T77" fmla="*/ 2147483647 h 4541"/>
              <a:gd name="T78" fmla="*/ 2147483647 w 6736"/>
              <a:gd name="T79" fmla="*/ 2147483647 h 4541"/>
              <a:gd name="T80" fmla="*/ 2147483647 w 6736"/>
              <a:gd name="T81" fmla="*/ 2147483647 h 4541"/>
              <a:gd name="T82" fmla="*/ 2147483647 w 6736"/>
              <a:gd name="T83" fmla="*/ 2147483647 h 4541"/>
              <a:gd name="T84" fmla="*/ 2147483647 w 6736"/>
              <a:gd name="T85" fmla="*/ 2147483647 h 4541"/>
              <a:gd name="T86" fmla="*/ 2147483647 w 6736"/>
              <a:gd name="T87" fmla="*/ 2147483647 h 4541"/>
              <a:gd name="T88" fmla="*/ 2147483647 w 6736"/>
              <a:gd name="T89" fmla="*/ 2147483647 h 4541"/>
              <a:gd name="T90" fmla="*/ 2147483647 w 6736"/>
              <a:gd name="T91" fmla="*/ 2147483647 h 4541"/>
              <a:gd name="T92" fmla="*/ 2147483647 w 6736"/>
              <a:gd name="T93" fmla="*/ 2147483647 h 4541"/>
              <a:gd name="T94" fmla="*/ 2147483647 w 6736"/>
              <a:gd name="T95" fmla="*/ 2147483647 h 4541"/>
              <a:gd name="T96" fmla="*/ 2147483647 w 6736"/>
              <a:gd name="T97" fmla="*/ 2147483647 h 4541"/>
              <a:gd name="T98" fmla="*/ 2147483647 w 6736"/>
              <a:gd name="T99" fmla="*/ 2147483647 h 4541"/>
              <a:gd name="T100" fmla="*/ 2147483647 w 6736"/>
              <a:gd name="T101" fmla="*/ 2147483647 h 4541"/>
              <a:gd name="T102" fmla="*/ 2147483647 w 6736"/>
              <a:gd name="T103" fmla="*/ 2147483647 h 4541"/>
              <a:gd name="T104" fmla="*/ 2147483647 w 6736"/>
              <a:gd name="T105" fmla="*/ 2147483647 h 4541"/>
              <a:gd name="T106" fmla="*/ 2147483647 w 6736"/>
              <a:gd name="T107" fmla="*/ 2147483647 h 4541"/>
              <a:gd name="T108" fmla="*/ 2147483647 w 6736"/>
              <a:gd name="T109" fmla="*/ 2147483647 h 4541"/>
              <a:gd name="T110" fmla="*/ 2147483647 w 6736"/>
              <a:gd name="T111" fmla="*/ 2147483647 h 4541"/>
              <a:gd name="T112" fmla="*/ 2147483647 w 6736"/>
              <a:gd name="T113" fmla="*/ 2147483647 h 4541"/>
              <a:gd name="T114" fmla="*/ 2147483647 w 6736"/>
              <a:gd name="T115" fmla="*/ 2147483647 h 4541"/>
              <a:gd name="T116" fmla="*/ 2147483647 w 6736"/>
              <a:gd name="T117" fmla="*/ 2147483647 h 4541"/>
              <a:gd name="T118" fmla="*/ 2147483647 w 6736"/>
              <a:gd name="T119" fmla="*/ 2147483647 h 4541"/>
              <a:gd name="T120" fmla="*/ 2147483647 w 6736"/>
              <a:gd name="T121" fmla="*/ 2147483647 h 4541"/>
              <a:gd name="T122" fmla="*/ 2147483647 w 6736"/>
              <a:gd name="T123" fmla="*/ 2147483647 h 4541"/>
              <a:gd name="T124" fmla="*/ 2147483647 w 6736"/>
              <a:gd name="T125" fmla="*/ 2147483647 h 45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36"/>
              <a:gd name="T190" fmla="*/ 0 h 4541"/>
              <a:gd name="T191" fmla="*/ 6736 w 6736"/>
              <a:gd name="T192" fmla="*/ 4541 h 45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36" h="4541">
                <a:moveTo>
                  <a:pt x="4752" y="4109"/>
                </a:moveTo>
                <a:lnTo>
                  <a:pt x="4908" y="4050"/>
                </a:lnTo>
                <a:lnTo>
                  <a:pt x="5206" y="4117"/>
                </a:lnTo>
                <a:lnTo>
                  <a:pt x="5204" y="4187"/>
                </a:lnTo>
                <a:lnTo>
                  <a:pt x="5157" y="4175"/>
                </a:lnTo>
                <a:lnTo>
                  <a:pt x="5157" y="4194"/>
                </a:lnTo>
                <a:lnTo>
                  <a:pt x="4779" y="4194"/>
                </a:lnTo>
                <a:lnTo>
                  <a:pt x="4779" y="4153"/>
                </a:lnTo>
                <a:lnTo>
                  <a:pt x="4733" y="4163"/>
                </a:lnTo>
                <a:lnTo>
                  <a:pt x="4725" y="4165"/>
                </a:lnTo>
                <a:lnTo>
                  <a:pt x="4717" y="4165"/>
                </a:lnTo>
                <a:lnTo>
                  <a:pt x="4708" y="4163"/>
                </a:lnTo>
                <a:lnTo>
                  <a:pt x="4701" y="4160"/>
                </a:lnTo>
                <a:lnTo>
                  <a:pt x="4695" y="4155"/>
                </a:lnTo>
                <a:lnTo>
                  <a:pt x="4688" y="4150"/>
                </a:lnTo>
                <a:lnTo>
                  <a:pt x="4684" y="4143"/>
                </a:lnTo>
                <a:lnTo>
                  <a:pt x="4679" y="4134"/>
                </a:lnTo>
                <a:lnTo>
                  <a:pt x="4678" y="4126"/>
                </a:lnTo>
                <a:lnTo>
                  <a:pt x="4678" y="4117"/>
                </a:lnTo>
                <a:lnTo>
                  <a:pt x="4678" y="4107"/>
                </a:lnTo>
                <a:lnTo>
                  <a:pt x="4679" y="4099"/>
                </a:lnTo>
                <a:lnTo>
                  <a:pt x="4683" y="4089"/>
                </a:lnTo>
                <a:lnTo>
                  <a:pt x="4689" y="4078"/>
                </a:lnTo>
                <a:lnTo>
                  <a:pt x="4696" y="4070"/>
                </a:lnTo>
                <a:lnTo>
                  <a:pt x="4706" y="4061"/>
                </a:lnTo>
                <a:lnTo>
                  <a:pt x="4855" y="3941"/>
                </a:lnTo>
                <a:lnTo>
                  <a:pt x="4866" y="3933"/>
                </a:lnTo>
                <a:lnTo>
                  <a:pt x="4878" y="3928"/>
                </a:lnTo>
                <a:lnTo>
                  <a:pt x="4891" y="3923"/>
                </a:lnTo>
                <a:lnTo>
                  <a:pt x="4905" y="3919"/>
                </a:lnTo>
                <a:lnTo>
                  <a:pt x="4916" y="3916"/>
                </a:lnTo>
                <a:lnTo>
                  <a:pt x="4932" y="3916"/>
                </a:lnTo>
                <a:lnTo>
                  <a:pt x="4961" y="3914"/>
                </a:lnTo>
                <a:lnTo>
                  <a:pt x="5277" y="3914"/>
                </a:lnTo>
                <a:lnTo>
                  <a:pt x="5277" y="3982"/>
                </a:lnTo>
                <a:lnTo>
                  <a:pt x="4959" y="3980"/>
                </a:lnTo>
                <a:lnTo>
                  <a:pt x="4937" y="3980"/>
                </a:lnTo>
                <a:lnTo>
                  <a:pt x="4918" y="3985"/>
                </a:lnTo>
                <a:lnTo>
                  <a:pt x="4898" y="3994"/>
                </a:lnTo>
                <a:lnTo>
                  <a:pt x="4879" y="4004"/>
                </a:lnTo>
                <a:lnTo>
                  <a:pt x="4744" y="4095"/>
                </a:lnTo>
                <a:lnTo>
                  <a:pt x="4740" y="4097"/>
                </a:lnTo>
                <a:lnTo>
                  <a:pt x="4739" y="4100"/>
                </a:lnTo>
                <a:lnTo>
                  <a:pt x="4739" y="4102"/>
                </a:lnTo>
                <a:lnTo>
                  <a:pt x="4739" y="4106"/>
                </a:lnTo>
                <a:lnTo>
                  <a:pt x="4740" y="4107"/>
                </a:lnTo>
                <a:lnTo>
                  <a:pt x="4744" y="4109"/>
                </a:lnTo>
                <a:lnTo>
                  <a:pt x="4747" y="4109"/>
                </a:lnTo>
                <a:lnTo>
                  <a:pt x="4752" y="4109"/>
                </a:lnTo>
                <a:close/>
                <a:moveTo>
                  <a:pt x="5967" y="4499"/>
                </a:moveTo>
                <a:lnTo>
                  <a:pt x="5918" y="4243"/>
                </a:lnTo>
                <a:lnTo>
                  <a:pt x="6255" y="3873"/>
                </a:lnTo>
                <a:lnTo>
                  <a:pt x="6204" y="3828"/>
                </a:lnTo>
                <a:lnTo>
                  <a:pt x="5880" y="4182"/>
                </a:lnTo>
                <a:lnTo>
                  <a:pt x="5320" y="4182"/>
                </a:lnTo>
                <a:lnTo>
                  <a:pt x="5320" y="3912"/>
                </a:lnTo>
                <a:lnTo>
                  <a:pt x="5653" y="3838"/>
                </a:lnTo>
                <a:lnTo>
                  <a:pt x="5796" y="3628"/>
                </a:lnTo>
                <a:lnTo>
                  <a:pt x="5772" y="3506"/>
                </a:lnTo>
                <a:lnTo>
                  <a:pt x="5770" y="3489"/>
                </a:lnTo>
                <a:lnTo>
                  <a:pt x="5769" y="3474"/>
                </a:lnTo>
                <a:lnTo>
                  <a:pt x="5770" y="3457"/>
                </a:lnTo>
                <a:lnTo>
                  <a:pt x="5772" y="3441"/>
                </a:lnTo>
                <a:lnTo>
                  <a:pt x="5777" y="3424"/>
                </a:lnTo>
                <a:lnTo>
                  <a:pt x="5782" y="3409"/>
                </a:lnTo>
                <a:lnTo>
                  <a:pt x="5789" y="3394"/>
                </a:lnTo>
                <a:lnTo>
                  <a:pt x="5796" y="3379"/>
                </a:lnTo>
                <a:lnTo>
                  <a:pt x="5813" y="3350"/>
                </a:lnTo>
                <a:lnTo>
                  <a:pt x="5831" y="3326"/>
                </a:lnTo>
                <a:lnTo>
                  <a:pt x="5853" y="3304"/>
                </a:lnTo>
                <a:lnTo>
                  <a:pt x="5864" y="3296"/>
                </a:lnTo>
                <a:lnTo>
                  <a:pt x="5874" y="3289"/>
                </a:lnTo>
                <a:lnTo>
                  <a:pt x="6057" y="3172"/>
                </a:lnTo>
                <a:lnTo>
                  <a:pt x="6096" y="3155"/>
                </a:lnTo>
                <a:lnTo>
                  <a:pt x="6114" y="3150"/>
                </a:lnTo>
                <a:lnTo>
                  <a:pt x="6131" y="3145"/>
                </a:lnTo>
                <a:lnTo>
                  <a:pt x="6148" y="3141"/>
                </a:lnTo>
                <a:lnTo>
                  <a:pt x="6165" y="3141"/>
                </a:lnTo>
                <a:lnTo>
                  <a:pt x="6180" y="3141"/>
                </a:lnTo>
                <a:lnTo>
                  <a:pt x="6194" y="3143"/>
                </a:lnTo>
                <a:lnTo>
                  <a:pt x="6207" y="3148"/>
                </a:lnTo>
                <a:lnTo>
                  <a:pt x="6221" y="3153"/>
                </a:lnTo>
                <a:lnTo>
                  <a:pt x="6233" y="3162"/>
                </a:lnTo>
                <a:lnTo>
                  <a:pt x="6243" y="3172"/>
                </a:lnTo>
                <a:lnTo>
                  <a:pt x="6253" y="3185"/>
                </a:lnTo>
                <a:lnTo>
                  <a:pt x="6263" y="3201"/>
                </a:lnTo>
                <a:lnTo>
                  <a:pt x="6272" y="3218"/>
                </a:lnTo>
                <a:lnTo>
                  <a:pt x="6279" y="3238"/>
                </a:lnTo>
                <a:lnTo>
                  <a:pt x="6736" y="4382"/>
                </a:lnTo>
                <a:lnTo>
                  <a:pt x="6706" y="4541"/>
                </a:lnTo>
                <a:lnTo>
                  <a:pt x="5967" y="4499"/>
                </a:lnTo>
                <a:close/>
                <a:moveTo>
                  <a:pt x="769" y="4499"/>
                </a:moveTo>
                <a:lnTo>
                  <a:pt x="30" y="4541"/>
                </a:lnTo>
                <a:lnTo>
                  <a:pt x="0" y="4382"/>
                </a:lnTo>
                <a:lnTo>
                  <a:pt x="457" y="3238"/>
                </a:lnTo>
                <a:lnTo>
                  <a:pt x="466" y="3218"/>
                </a:lnTo>
                <a:lnTo>
                  <a:pt x="474" y="3201"/>
                </a:lnTo>
                <a:lnTo>
                  <a:pt x="483" y="3185"/>
                </a:lnTo>
                <a:lnTo>
                  <a:pt x="493" y="3172"/>
                </a:lnTo>
                <a:lnTo>
                  <a:pt x="505" y="3162"/>
                </a:lnTo>
                <a:lnTo>
                  <a:pt x="517" y="3153"/>
                </a:lnTo>
                <a:lnTo>
                  <a:pt x="529" y="3148"/>
                </a:lnTo>
                <a:lnTo>
                  <a:pt x="542" y="3143"/>
                </a:lnTo>
                <a:lnTo>
                  <a:pt x="557" y="3141"/>
                </a:lnTo>
                <a:lnTo>
                  <a:pt x="573" y="3141"/>
                </a:lnTo>
                <a:lnTo>
                  <a:pt x="588" y="3141"/>
                </a:lnTo>
                <a:lnTo>
                  <a:pt x="605" y="3145"/>
                </a:lnTo>
                <a:lnTo>
                  <a:pt x="622" y="3150"/>
                </a:lnTo>
                <a:lnTo>
                  <a:pt x="640" y="3155"/>
                </a:lnTo>
                <a:lnTo>
                  <a:pt x="679" y="3172"/>
                </a:lnTo>
                <a:lnTo>
                  <a:pt x="862" y="3289"/>
                </a:lnTo>
                <a:lnTo>
                  <a:pt x="874" y="3296"/>
                </a:lnTo>
                <a:lnTo>
                  <a:pt x="884" y="3304"/>
                </a:lnTo>
                <a:lnTo>
                  <a:pt x="905" y="3326"/>
                </a:lnTo>
                <a:lnTo>
                  <a:pt x="925" y="3350"/>
                </a:lnTo>
                <a:lnTo>
                  <a:pt x="942" y="3379"/>
                </a:lnTo>
                <a:lnTo>
                  <a:pt x="949" y="3394"/>
                </a:lnTo>
                <a:lnTo>
                  <a:pt x="956" y="3409"/>
                </a:lnTo>
                <a:lnTo>
                  <a:pt x="961" y="3424"/>
                </a:lnTo>
                <a:lnTo>
                  <a:pt x="964" y="3441"/>
                </a:lnTo>
                <a:lnTo>
                  <a:pt x="967" y="3457"/>
                </a:lnTo>
                <a:lnTo>
                  <a:pt x="967" y="3474"/>
                </a:lnTo>
                <a:lnTo>
                  <a:pt x="967" y="3489"/>
                </a:lnTo>
                <a:lnTo>
                  <a:pt x="966" y="3506"/>
                </a:lnTo>
                <a:lnTo>
                  <a:pt x="942" y="3628"/>
                </a:lnTo>
                <a:lnTo>
                  <a:pt x="1084" y="3838"/>
                </a:lnTo>
                <a:lnTo>
                  <a:pt x="1416" y="3912"/>
                </a:lnTo>
                <a:lnTo>
                  <a:pt x="1416" y="4182"/>
                </a:lnTo>
                <a:lnTo>
                  <a:pt x="856" y="4182"/>
                </a:lnTo>
                <a:lnTo>
                  <a:pt x="532" y="3828"/>
                </a:lnTo>
                <a:lnTo>
                  <a:pt x="481" y="3873"/>
                </a:lnTo>
                <a:lnTo>
                  <a:pt x="820" y="4243"/>
                </a:lnTo>
                <a:lnTo>
                  <a:pt x="769" y="4499"/>
                </a:lnTo>
                <a:close/>
                <a:moveTo>
                  <a:pt x="5967" y="2096"/>
                </a:moveTo>
                <a:lnTo>
                  <a:pt x="5918" y="1840"/>
                </a:lnTo>
                <a:lnTo>
                  <a:pt x="6255" y="1471"/>
                </a:lnTo>
                <a:lnTo>
                  <a:pt x="6206" y="1425"/>
                </a:lnTo>
                <a:lnTo>
                  <a:pt x="5880" y="1779"/>
                </a:lnTo>
                <a:lnTo>
                  <a:pt x="5320" y="1779"/>
                </a:lnTo>
                <a:lnTo>
                  <a:pt x="5320" y="1510"/>
                </a:lnTo>
                <a:lnTo>
                  <a:pt x="5653" y="1433"/>
                </a:lnTo>
                <a:lnTo>
                  <a:pt x="5796" y="1225"/>
                </a:lnTo>
                <a:lnTo>
                  <a:pt x="5772" y="1101"/>
                </a:lnTo>
                <a:lnTo>
                  <a:pt x="5770" y="1086"/>
                </a:lnTo>
                <a:lnTo>
                  <a:pt x="5769" y="1071"/>
                </a:lnTo>
                <a:lnTo>
                  <a:pt x="5770" y="1054"/>
                </a:lnTo>
                <a:lnTo>
                  <a:pt x="5772" y="1037"/>
                </a:lnTo>
                <a:lnTo>
                  <a:pt x="5777" y="1022"/>
                </a:lnTo>
                <a:lnTo>
                  <a:pt x="5782" y="1006"/>
                </a:lnTo>
                <a:lnTo>
                  <a:pt x="5789" y="991"/>
                </a:lnTo>
                <a:lnTo>
                  <a:pt x="5796" y="976"/>
                </a:lnTo>
                <a:lnTo>
                  <a:pt x="5813" y="947"/>
                </a:lnTo>
                <a:lnTo>
                  <a:pt x="5831" y="922"/>
                </a:lnTo>
                <a:lnTo>
                  <a:pt x="5853" y="901"/>
                </a:lnTo>
                <a:lnTo>
                  <a:pt x="5864" y="893"/>
                </a:lnTo>
                <a:lnTo>
                  <a:pt x="5874" y="884"/>
                </a:lnTo>
                <a:lnTo>
                  <a:pt x="6057" y="769"/>
                </a:lnTo>
                <a:lnTo>
                  <a:pt x="6096" y="752"/>
                </a:lnTo>
                <a:lnTo>
                  <a:pt x="6114" y="747"/>
                </a:lnTo>
                <a:lnTo>
                  <a:pt x="6131" y="742"/>
                </a:lnTo>
                <a:lnTo>
                  <a:pt x="6148" y="739"/>
                </a:lnTo>
                <a:lnTo>
                  <a:pt x="6165" y="737"/>
                </a:lnTo>
                <a:lnTo>
                  <a:pt x="6180" y="739"/>
                </a:lnTo>
                <a:lnTo>
                  <a:pt x="6194" y="740"/>
                </a:lnTo>
                <a:lnTo>
                  <a:pt x="6207" y="744"/>
                </a:lnTo>
                <a:lnTo>
                  <a:pt x="6221" y="751"/>
                </a:lnTo>
                <a:lnTo>
                  <a:pt x="6233" y="759"/>
                </a:lnTo>
                <a:lnTo>
                  <a:pt x="6243" y="769"/>
                </a:lnTo>
                <a:lnTo>
                  <a:pt x="6253" y="783"/>
                </a:lnTo>
                <a:lnTo>
                  <a:pt x="6263" y="798"/>
                </a:lnTo>
                <a:lnTo>
                  <a:pt x="6272" y="815"/>
                </a:lnTo>
                <a:lnTo>
                  <a:pt x="6279" y="835"/>
                </a:lnTo>
                <a:lnTo>
                  <a:pt x="6736" y="1977"/>
                </a:lnTo>
                <a:lnTo>
                  <a:pt x="6706" y="2138"/>
                </a:lnTo>
                <a:lnTo>
                  <a:pt x="5967" y="2096"/>
                </a:lnTo>
                <a:close/>
                <a:moveTo>
                  <a:pt x="769" y="2096"/>
                </a:moveTo>
                <a:lnTo>
                  <a:pt x="30" y="2138"/>
                </a:lnTo>
                <a:lnTo>
                  <a:pt x="0" y="1977"/>
                </a:lnTo>
                <a:lnTo>
                  <a:pt x="457" y="835"/>
                </a:lnTo>
                <a:lnTo>
                  <a:pt x="464" y="815"/>
                </a:lnTo>
                <a:lnTo>
                  <a:pt x="474" y="798"/>
                </a:lnTo>
                <a:lnTo>
                  <a:pt x="483" y="783"/>
                </a:lnTo>
                <a:lnTo>
                  <a:pt x="493" y="769"/>
                </a:lnTo>
                <a:lnTo>
                  <a:pt x="505" y="759"/>
                </a:lnTo>
                <a:lnTo>
                  <a:pt x="517" y="751"/>
                </a:lnTo>
                <a:lnTo>
                  <a:pt x="529" y="744"/>
                </a:lnTo>
                <a:lnTo>
                  <a:pt x="542" y="740"/>
                </a:lnTo>
                <a:lnTo>
                  <a:pt x="557" y="739"/>
                </a:lnTo>
                <a:lnTo>
                  <a:pt x="573" y="737"/>
                </a:lnTo>
                <a:lnTo>
                  <a:pt x="588" y="739"/>
                </a:lnTo>
                <a:lnTo>
                  <a:pt x="605" y="742"/>
                </a:lnTo>
                <a:lnTo>
                  <a:pt x="622" y="747"/>
                </a:lnTo>
                <a:lnTo>
                  <a:pt x="640" y="752"/>
                </a:lnTo>
                <a:lnTo>
                  <a:pt x="679" y="769"/>
                </a:lnTo>
                <a:lnTo>
                  <a:pt x="862" y="884"/>
                </a:lnTo>
                <a:lnTo>
                  <a:pt x="874" y="893"/>
                </a:lnTo>
                <a:lnTo>
                  <a:pt x="884" y="901"/>
                </a:lnTo>
                <a:lnTo>
                  <a:pt x="905" y="922"/>
                </a:lnTo>
                <a:lnTo>
                  <a:pt x="925" y="947"/>
                </a:lnTo>
                <a:lnTo>
                  <a:pt x="942" y="976"/>
                </a:lnTo>
                <a:lnTo>
                  <a:pt x="949" y="991"/>
                </a:lnTo>
                <a:lnTo>
                  <a:pt x="956" y="1006"/>
                </a:lnTo>
                <a:lnTo>
                  <a:pt x="961" y="1022"/>
                </a:lnTo>
                <a:lnTo>
                  <a:pt x="964" y="1039"/>
                </a:lnTo>
                <a:lnTo>
                  <a:pt x="967" y="1054"/>
                </a:lnTo>
                <a:lnTo>
                  <a:pt x="967" y="1071"/>
                </a:lnTo>
                <a:lnTo>
                  <a:pt x="967" y="1086"/>
                </a:lnTo>
                <a:lnTo>
                  <a:pt x="966" y="1101"/>
                </a:lnTo>
                <a:lnTo>
                  <a:pt x="940" y="1225"/>
                </a:lnTo>
                <a:lnTo>
                  <a:pt x="1084" y="1433"/>
                </a:lnTo>
                <a:lnTo>
                  <a:pt x="1416" y="1510"/>
                </a:lnTo>
                <a:lnTo>
                  <a:pt x="1416" y="1779"/>
                </a:lnTo>
                <a:lnTo>
                  <a:pt x="856" y="1779"/>
                </a:lnTo>
                <a:lnTo>
                  <a:pt x="532" y="1425"/>
                </a:lnTo>
                <a:lnTo>
                  <a:pt x="481" y="1471"/>
                </a:lnTo>
                <a:lnTo>
                  <a:pt x="820" y="1840"/>
                </a:lnTo>
                <a:lnTo>
                  <a:pt x="769" y="2096"/>
                </a:lnTo>
                <a:close/>
                <a:moveTo>
                  <a:pt x="2555" y="293"/>
                </a:moveTo>
                <a:lnTo>
                  <a:pt x="2555" y="293"/>
                </a:lnTo>
                <a:lnTo>
                  <a:pt x="2550" y="373"/>
                </a:lnTo>
                <a:lnTo>
                  <a:pt x="2545" y="452"/>
                </a:lnTo>
                <a:lnTo>
                  <a:pt x="2540" y="530"/>
                </a:lnTo>
                <a:lnTo>
                  <a:pt x="2531" y="610"/>
                </a:lnTo>
                <a:lnTo>
                  <a:pt x="2523" y="688"/>
                </a:lnTo>
                <a:lnTo>
                  <a:pt x="2512" y="766"/>
                </a:lnTo>
                <a:lnTo>
                  <a:pt x="2502" y="844"/>
                </a:lnTo>
                <a:lnTo>
                  <a:pt x="2490" y="922"/>
                </a:lnTo>
                <a:lnTo>
                  <a:pt x="2811" y="1745"/>
                </a:lnTo>
                <a:lnTo>
                  <a:pt x="2817" y="1760"/>
                </a:lnTo>
                <a:lnTo>
                  <a:pt x="2821" y="1776"/>
                </a:lnTo>
                <a:lnTo>
                  <a:pt x="2824" y="1791"/>
                </a:lnTo>
                <a:lnTo>
                  <a:pt x="2824" y="1808"/>
                </a:lnTo>
                <a:lnTo>
                  <a:pt x="2824" y="1823"/>
                </a:lnTo>
                <a:lnTo>
                  <a:pt x="2822" y="1838"/>
                </a:lnTo>
                <a:lnTo>
                  <a:pt x="2821" y="1854"/>
                </a:lnTo>
                <a:lnTo>
                  <a:pt x="2816" y="1867"/>
                </a:lnTo>
                <a:lnTo>
                  <a:pt x="2809" y="1881"/>
                </a:lnTo>
                <a:lnTo>
                  <a:pt x="2800" y="1893"/>
                </a:lnTo>
                <a:lnTo>
                  <a:pt x="2790" y="1903"/>
                </a:lnTo>
                <a:lnTo>
                  <a:pt x="2778" y="1913"/>
                </a:lnTo>
                <a:lnTo>
                  <a:pt x="2765" y="1920"/>
                </a:lnTo>
                <a:lnTo>
                  <a:pt x="2748" y="1927"/>
                </a:lnTo>
                <a:lnTo>
                  <a:pt x="2729" y="1930"/>
                </a:lnTo>
                <a:lnTo>
                  <a:pt x="2709" y="1930"/>
                </a:lnTo>
                <a:lnTo>
                  <a:pt x="1040" y="1930"/>
                </a:lnTo>
                <a:lnTo>
                  <a:pt x="1040" y="1862"/>
                </a:lnTo>
                <a:lnTo>
                  <a:pt x="2709" y="1862"/>
                </a:lnTo>
                <a:lnTo>
                  <a:pt x="2724" y="1862"/>
                </a:lnTo>
                <a:lnTo>
                  <a:pt x="2736" y="1857"/>
                </a:lnTo>
                <a:lnTo>
                  <a:pt x="2746" y="1850"/>
                </a:lnTo>
                <a:lnTo>
                  <a:pt x="2750" y="1845"/>
                </a:lnTo>
                <a:lnTo>
                  <a:pt x="2753" y="1840"/>
                </a:lnTo>
                <a:lnTo>
                  <a:pt x="2756" y="1833"/>
                </a:lnTo>
                <a:lnTo>
                  <a:pt x="2758" y="1827"/>
                </a:lnTo>
                <a:lnTo>
                  <a:pt x="2758" y="1811"/>
                </a:lnTo>
                <a:lnTo>
                  <a:pt x="2755" y="1793"/>
                </a:lnTo>
                <a:lnTo>
                  <a:pt x="2748" y="1769"/>
                </a:lnTo>
                <a:lnTo>
                  <a:pt x="2467" y="1049"/>
                </a:lnTo>
                <a:lnTo>
                  <a:pt x="2453" y="1120"/>
                </a:lnTo>
                <a:lnTo>
                  <a:pt x="2438" y="1191"/>
                </a:lnTo>
                <a:lnTo>
                  <a:pt x="2421" y="1262"/>
                </a:lnTo>
                <a:lnTo>
                  <a:pt x="2404" y="1333"/>
                </a:lnTo>
                <a:lnTo>
                  <a:pt x="2387" y="1405"/>
                </a:lnTo>
                <a:lnTo>
                  <a:pt x="2367" y="1474"/>
                </a:lnTo>
                <a:lnTo>
                  <a:pt x="2326" y="1615"/>
                </a:lnTo>
                <a:lnTo>
                  <a:pt x="2230" y="1596"/>
                </a:lnTo>
                <a:lnTo>
                  <a:pt x="2458" y="274"/>
                </a:lnTo>
                <a:lnTo>
                  <a:pt x="2555" y="293"/>
                </a:lnTo>
                <a:close/>
                <a:moveTo>
                  <a:pt x="1062" y="178"/>
                </a:moveTo>
                <a:lnTo>
                  <a:pt x="1062" y="178"/>
                </a:lnTo>
                <a:lnTo>
                  <a:pt x="1076" y="210"/>
                </a:lnTo>
                <a:lnTo>
                  <a:pt x="1086" y="242"/>
                </a:lnTo>
                <a:lnTo>
                  <a:pt x="1089" y="261"/>
                </a:lnTo>
                <a:lnTo>
                  <a:pt x="1091" y="278"/>
                </a:lnTo>
                <a:lnTo>
                  <a:pt x="1093" y="297"/>
                </a:lnTo>
                <a:lnTo>
                  <a:pt x="1093" y="313"/>
                </a:lnTo>
                <a:lnTo>
                  <a:pt x="1093" y="391"/>
                </a:lnTo>
                <a:lnTo>
                  <a:pt x="1093" y="420"/>
                </a:lnTo>
                <a:lnTo>
                  <a:pt x="1088" y="449"/>
                </a:lnTo>
                <a:lnTo>
                  <a:pt x="1081" y="476"/>
                </a:lnTo>
                <a:lnTo>
                  <a:pt x="1072" y="503"/>
                </a:lnTo>
                <a:lnTo>
                  <a:pt x="1062" y="529"/>
                </a:lnTo>
                <a:lnTo>
                  <a:pt x="1049" y="552"/>
                </a:lnTo>
                <a:lnTo>
                  <a:pt x="1033" y="574"/>
                </a:lnTo>
                <a:lnTo>
                  <a:pt x="1016" y="595"/>
                </a:lnTo>
                <a:lnTo>
                  <a:pt x="998" y="613"/>
                </a:lnTo>
                <a:lnTo>
                  <a:pt x="978" y="630"/>
                </a:lnTo>
                <a:lnTo>
                  <a:pt x="957" y="646"/>
                </a:lnTo>
                <a:lnTo>
                  <a:pt x="933" y="657"/>
                </a:lnTo>
                <a:lnTo>
                  <a:pt x="910" y="668"/>
                </a:lnTo>
                <a:lnTo>
                  <a:pt x="883" y="674"/>
                </a:lnTo>
                <a:lnTo>
                  <a:pt x="857" y="679"/>
                </a:lnTo>
                <a:lnTo>
                  <a:pt x="830" y="681"/>
                </a:lnTo>
                <a:lnTo>
                  <a:pt x="803" y="679"/>
                </a:lnTo>
                <a:lnTo>
                  <a:pt x="778" y="676"/>
                </a:lnTo>
                <a:lnTo>
                  <a:pt x="754" y="669"/>
                </a:lnTo>
                <a:lnTo>
                  <a:pt x="730" y="661"/>
                </a:lnTo>
                <a:lnTo>
                  <a:pt x="708" y="649"/>
                </a:lnTo>
                <a:lnTo>
                  <a:pt x="688" y="635"/>
                </a:lnTo>
                <a:lnTo>
                  <a:pt x="669" y="620"/>
                </a:lnTo>
                <a:lnTo>
                  <a:pt x="651" y="603"/>
                </a:lnTo>
                <a:lnTo>
                  <a:pt x="634" y="585"/>
                </a:lnTo>
                <a:lnTo>
                  <a:pt x="618" y="566"/>
                </a:lnTo>
                <a:lnTo>
                  <a:pt x="605" y="544"/>
                </a:lnTo>
                <a:lnTo>
                  <a:pt x="593" y="520"/>
                </a:lnTo>
                <a:lnTo>
                  <a:pt x="583" y="496"/>
                </a:lnTo>
                <a:lnTo>
                  <a:pt x="576" y="471"/>
                </a:lnTo>
                <a:lnTo>
                  <a:pt x="571" y="446"/>
                </a:lnTo>
                <a:lnTo>
                  <a:pt x="566" y="419"/>
                </a:lnTo>
                <a:lnTo>
                  <a:pt x="537" y="268"/>
                </a:lnTo>
                <a:lnTo>
                  <a:pt x="535" y="254"/>
                </a:lnTo>
                <a:lnTo>
                  <a:pt x="534" y="239"/>
                </a:lnTo>
                <a:lnTo>
                  <a:pt x="534" y="213"/>
                </a:lnTo>
                <a:lnTo>
                  <a:pt x="539" y="188"/>
                </a:lnTo>
                <a:lnTo>
                  <a:pt x="546" y="164"/>
                </a:lnTo>
                <a:lnTo>
                  <a:pt x="557" y="142"/>
                </a:lnTo>
                <a:lnTo>
                  <a:pt x="569" y="122"/>
                </a:lnTo>
                <a:lnTo>
                  <a:pt x="584" y="103"/>
                </a:lnTo>
                <a:lnTo>
                  <a:pt x="601" y="86"/>
                </a:lnTo>
                <a:lnTo>
                  <a:pt x="620" y="71"/>
                </a:lnTo>
                <a:lnTo>
                  <a:pt x="639" y="58"/>
                </a:lnTo>
                <a:lnTo>
                  <a:pt x="657" y="47"/>
                </a:lnTo>
                <a:lnTo>
                  <a:pt x="676" y="39"/>
                </a:lnTo>
                <a:lnTo>
                  <a:pt x="695" y="32"/>
                </a:lnTo>
                <a:lnTo>
                  <a:pt x="712" y="27"/>
                </a:lnTo>
                <a:lnTo>
                  <a:pt x="728" y="25"/>
                </a:lnTo>
                <a:lnTo>
                  <a:pt x="742" y="25"/>
                </a:lnTo>
                <a:lnTo>
                  <a:pt x="759" y="19"/>
                </a:lnTo>
                <a:lnTo>
                  <a:pt x="776" y="14"/>
                </a:lnTo>
                <a:lnTo>
                  <a:pt x="793" y="8"/>
                </a:lnTo>
                <a:lnTo>
                  <a:pt x="808" y="5"/>
                </a:lnTo>
                <a:lnTo>
                  <a:pt x="839" y="0"/>
                </a:lnTo>
                <a:lnTo>
                  <a:pt x="869" y="0"/>
                </a:lnTo>
                <a:lnTo>
                  <a:pt x="896" y="3"/>
                </a:lnTo>
                <a:lnTo>
                  <a:pt x="923" y="10"/>
                </a:lnTo>
                <a:lnTo>
                  <a:pt x="949" y="19"/>
                </a:lnTo>
                <a:lnTo>
                  <a:pt x="972" y="29"/>
                </a:lnTo>
                <a:lnTo>
                  <a:pt x="994" y="41"/>
                </a:lnTo>
                <a:lnTo>
                  <a:pt x="1015" y="54"/>
                </a:lnTo>
                <a:lnTo>
                  <a:pt x="1033" y="68"/>
                </a:lnTo>
                <a:lnTo>
                  <a:pt x="1050" y="81"/>
                </a:lnTo>
                <a:lnTo>
                  <a:pt x="1077" y="105"/>
                </a:lnTo>
                <a:lnTo>
                  <a:pt x="1098" y="122"/>
                </a:lnTo>
                <a:lnTo>
                  <a:pt x="1062" y="178"/>
                </a:lnTo>
                <a:close/>
                <a:moveTo>
                  <a:pt x="635" y="419"/>
                </a:moveTo>
                <a:lnTo>
                  <a:pt x="635" y="419"/>
                </a:lnTo>
                <a:lnTo>
                  <a:pt x="639" y="441"/>
                </a:lnTo>
                <a:lnTo>
                  <a:pt x="642" y="459"/>
                </a:lnTo>
                <a:lnTo>
                  <a:pt x="649" y="478"/>
                </a:lnTo>
                <a:lnTo>
                  <a:pt x="657" y="496"/>
                </a:lnTo>
                <a:lnTo>
                  <a:pt x="666" y="513"/>
                </a:lnTo>
                <a:lnTo>
                  <a:pt x="676" y="530"/>
                </a:lnTo>
                <a:lnTo>
                  <a:pt x="688" y="544"/>
                </a:lnTo>
                <a:lnTo>
                  <a:pt x="700" y="557"/>
                </a:lnTo>
                <a:lnTo>
                  <a:pt x="713" y="569"/>
                </a:lnTo>
                <a:lnTo>
                  <a:pt x="728" y="581"/>
                </a:lnTo>
                <a:lnTo>
                  <a:pt x="744" y="590"/>
                </a:lnTo>
                <a:lnTo>
                  <a:pt x="759" y="598"/>
                </a:lnTo>
                <a:lnTo>
                  <a:pt x="776" y="605"/>
                </a:lnTo>
                <a:lnTo>
                  <a:pt x="793" y="608"/>
                </a:lnTo>
                <a:lnTo>
                  <a:pt x="812" y="612"/>
                </a:lnTo>
                <a:lnTo>
                  <a:pt x="830" y="613"/>
                </a:lnTo>
                <a:lnTo>
                  <a:pt x="849" y="612"/>
                </a:lnTo>
                <a:lnTo>
                  <a:pt x="867" y="608"/>
                </a:lnTo>
                <a:lnTo>
                  <a:pt x="886" y="603"/>
                </a:lnTo>
                <a:lnTo>
                  <a:pt x="905" y="596"/>
                </a:lnTo>
                <a:lnTo>
                  <a:pt x="922" y="586"/>
                </a:lnTo>
                <a:lnTo>
                  <a:pt x="937" y="576"/>
                </a:lnTo>
                <a:lnTo>
                  <a:pt x="952" y="564"/>
                </a:lnTo>
                <a:lnTo>
                  <a:pt x="967" y="549"/>
                </a:lnTo>
                <a:lnTo>
                  <a:pt x="979" y="534"/>
                </a:lnTo>
                <a:lnTo>
                  <a:pt x="991" y="517"/>
                </a:lnTo>
                <a:lnTo>
                  <a:pt x="1001" y="498"/>
                </a:lnTo>
                <a:lnTo>
                  <a:pt x="1010" y="480"/>
                </a:lnTo>
                <a:lnTo>
                  <a:pt x="1016" y="459"/>
                </a:lnTo>
                <a:lnTo>
                  <a:pt x="1022" y="437"/>
                </a:lnTo>
                <a:lnTo>
                  <a:pt x="1025" y="415"/>
                </a:lnTo>
                <a:lnTo>
                  <a:pt x="1025" y="391"/>
                </a:lnTo>
                <a:lnTo>
                  <a:pt x="1025" y="313"/>
                </a:lnTo>
                <a:lnTo>
                  <a:pt x="1025" y="288"/>
                </a:lnTo>
                <a:lnTo>
                  <a:pt x="1020" y="263"/>
                </a:lnTo>
                <a:lnTo>
                  <a:pt x="1006" y="280"/>
                </a:lnTo>
                <a:lnTo>
                  <a:pt x="989" y="293"/>
                </a:lnTo>
                <a:lnTo>
                  <a:pt x="972" y="305"/>
                </a:lnTo>
                <a:lnTo>
                  <a:pt x="950" y="315"/>
                </a:lnTo>
                <a:lnTo>
                  <a:pt x="927" y="324"/>
                </a:lnTo>
                <a:lnTo>
                  <a:pt x="901" y="330"/>
                </a:lnTo>
                <a:lnTo>
                  <a:pt x="871" y="337"/>
                </a:lnTo>
                <a:lnTo>
                  <a:pt x="837" y="342"/>
                </a:lnTo>
                <a:lnTo>
                  <a:pt x="825" y="396"/>
                </a:lnTo>
                <a:lnTo>
                  <a:pt x="764" y="400"/>
                </a:lnTo>
                <a:lnTo>
                  <a:pt x="764" y="364"/>
                </a:lnTo>
                <a:lnTo>
                  <a:pt x="762" y="349"/>
                </a:lnTo>
                <a:lnTo>
                  <a:pt x="759" y="335"/>
                </a:lnTo>
                <a:lnTo>
                  <a:pt x="752" y="324"/>
                </a:lnTo>
                <a:lnTo>
                  <a:pt x="745" y="313"/>
                </a:lnTo>
                <a:lnTo>
                  <a:pt x="735" y="305"/>
                </a:lnTo>
                <a:lnTo>
                  <a:pt x="725" y="298"/>
                </a:lnTo>
                <a:lnTo>
                  <a:pt x="712" y="293"/>
                </a:lnTo>
                <a:lnTo>
                  <a:pt x="700" y="291"/>
                </a:lnTo>
                <a:lnTo>
                  <a:pt x="686" y="293"/>
                </a:lnTo>
                <a:lnTo>
                  <a:pt x="674" y="298"/>
                </a:lnTo>
                <a:lnTo>
                  <a:pt x="662" y="305"/>
                </a:lnTo>
                <a:lnTo>
                  <a:pt x="654" y="313"/>
                </a:lnTo>
                <a:lnTo>
                  <a:pt x="645" y="324"/>
                </a:lnTo>
                <a:lnTo>
                  <a:pt x="640" y="335"/>
                </a:lnTo>
                <a:lnTo>
                  <a:pt x="635" y="349"/>
                </a:lnTo>
                <a:lnTo>
                  <a:pt x="635" y="364"/>
                </a:lnTo>
                <a:lnTo>
                  <a:pt x="635" y="413"/>
                </a:lnTo>
                <a:lnTo>
                  <a:pt x="635" y="419"/>
                </a:lnTo>
                <a:close/>
                <a:moveTo>
                  <a:pt x="1991" y="1699"/>
                </a:moveTo>
                <a:lnTo>
                  <a:pt x="1991" y="1699"/>
                </a:lnTo>
                <a:lnTo>
                  <a:pt x="1994" y="1701"/>
                </a:lnTo>
                <a:lnTo>
                  <a:pt x="1999" y="1701"/>
                </a:lnTo>
                <a:lnTo>
                  <a:pt x="2001" y="1699"/>
                </a:lnTo>
                <a:lnTo>
                  <a:pt x="2003" y="1698"/>
                </a:lnTo>
                <a:lnTo>
                  <a:pt x="2004" y="1694"/>
                </a:lnTo>
                <a:lnTo>
                  <a:pt x="2003" y="1691"/>
                </a:lnTo>
                <a:lnTo>
                  <a:pt x="2001" y="1689"/>
                </a:lnTo>
                <a:lnTo>
                  <a:pt x="1999" y="1686"/>
                </a:lnTo>
                <a:lnTo>
                  <a:pt x="1864" y="1596"/>
                </a:lnTo>
                <a:lnTo>
                  <a:pt x="1843" y="1584"/>
                </a:lnTo>
                <a:lnTo>
                  <a:pt x="1825" y="1577"/>
                </a:lnTo>
                <a:lnTo>
                  <a:pt x="1804" y="1572"/>
                </a:lnTo>
                <a:lnTo>
                  <a:pt x="1784" y="1571"/>
                </a:lnTo>
                <a:lnTo>
                  <a:pt x="1465" y="1574"/>
                </a:lnTo>
                <a:lnTo>
                  <a:pt x="1465" y="1506"/>
                </a:lnTo>
                <a:lnTo>
                  <a:pt x="1782" y="1506"/>
                </a:lnTo>
                <a:lnTo>
                  <a:pt x="1811" y="1506"/>
                </a:lnTo>
                <a:lnTo>
                  <a:pt x="1825" y="1508"/>
                </a:lnTo>
                <a:lnTo>
                  <a:pt x="1838" y="1511"/>
                </a:lnTo>
                <a:lnTo>
                  <a:pt x="1852" y="1515"/>
                </a:lnTo>
                <a:lnTo>
                  <a:pt x="1864" y="1520"/>
                </a:lnTo>
                <a:lnTo>
                  <a:pt x="1875" y="1525"/>
                </a:lnTo>
                <a:lnTo>
                  <a:pt x="1887" y="1533"/>
                </a:lnTo>
                <a:lnTo>
                  <a:pt x="2036" y="1652"/>
                </a:lnTo>
                <a:lnTo>
                  <a:pt x="2045" y="1662"/>
                </a:lnTo>
                <a:lnTo>
                  <a:pt x="2053" y="1671"/>
                </a:lnTo>
                <a:lnTo>
                  <a:pt x="2058" y="1681"/>
                </a:lnTo>
                <a:lnTo>
                  <a:pt x="2062" y="1691"/>
                </a:lnTo>
                <a:lnTo>
                  <a:pt x="2065" y="1699"/>
                </a:lnTo>
                <a:lnTo>
                  <a:pt x="2065" y="1710"/>
                </a:lnTo>
                <a:lnTo>
                  <a:pt x="2063" y="1718"/>
                </a:lnTo>
                <a:lnTo>
                  <a:pt x="2062" y="1727"/>
                </a:lnTo>
                <a:lnTo>
                  <a:pt x="2058" y="1733"/>
                </a:lnTo>
                <a:lnTo>
                  <a:pt x="2053" y="1740"/>
                </a:lnTo>
                <a:lnTo>
                  <a:pt x="2048" y="1747"/>
                </a:lnTo>
                <a:lnTo>
                  <a:pt x="2041" y="1750"/>
                </a:lnTo>
                <a:lnTo>
                  <a:pt x="2035" y="1754"/>
                </a:lnTo>
                <a:lnTo>
                  <a:pt x="2026" y="1757"/>
                </a:lnTo>
                <a:lnTo>
                  <a:pt x="2018" y="1757"/>
                </a:lnTo>
                <a:lnTo>
                  <a:pt x="2008" y="1755"/>
                </a:lnTo>
                <a:lnTo>
                  <a:pt x="1962" y="1744"/>
                </a:lnTo>
                <a:lnTo>
                  <a:pt x="1962" y="1786"/>
                </a:lnTo>
                <a:lnTo>
                  <a:pt x="1586" y="1786"/>
                </a:lnTo>
                <a:lnTo>
                  <a:pt x="1586" y="1767"/>
                </a:lnTo>
                <a:lnTo>
                  <a:pt x="1537" y="1779"/>
                </a:lnTo>
                <a:lnTo>
                  <a:pt x="1535" y="1710"/>
                </a:lnTo>
                <a:lnTo>
                  <a:pt x="1833" y="1642"/>
                </a:lnTo>
                <a:lnTo>
                  <a:pt x="1991" y="1699"/>
                </a:lnTo>
                <a:close/>
                <a:moveTo>
                  <a:pt x="1062" y="2581"/>
                </a:moveTo>
                <a:lnTo>
                  <a:pt x="1062" y="2581"/>
                </a:lnTo>
                <a:lnTo>
                  <a:pt x="1076" y="2613"/>
                </a:lnTo>
                <a:lnTo>
                  <a:pt x="1086" y="2647"/>
                </a:lnTo>
                <a:lnTo>
                  <a:pt x="1089" y="2664"/>
                </a:lnTo>
                <a:lnTo>
                  <a:pt x="1091" y="2681"/>
                </a:lnTo>
                <a:lnTo>
                  <a:pt x="1093" y="2699"/>
                </a:lnTo>
                <a:lnTo>
                  <a:pt x="1093" y="2718"/>
                </a:lnTo>
                <a:lnTo>
                  <a:pt x="1093" y="2796"/>
                </a:lnTo>
                <a:lnTo>
                  <a:pt x="1093" y="2825"/>
                </a:lnTo>
                <a:lnTo>
                  <a:pt x="1088" y="2852"/>
                </a:lnTo>
                <a:lnTo>
                  <a:pt x="1083" y="2879"/>
                </a:lnTo>
                <a:lnTo>
                  <a:pt x="1072" y="2906"/>
                </a:lnTo>
                <a:lnTo>
                  <a:pt x="1062" y="2931"/>
                </a:lnTo>
                <a:lnTo>
                  <a:pt x="1049" y="2955"/>
                </a:lnTo>
                <a:lnTo>
                  <a:pt x="1033" y="2977"/>
                </a:lnTo>
                <a:lnTo>
                  <a:pt x="1016" y="2997"/>
                </a:lnTo>
                <a:lnTo>
                  <a:pt x="998" y="3016"/>
                </a:lnTo>
                <a:lnTo>
                  <a:pt x="979" y="3033"/>
                </a:lnTo>
                <a:lnTo>
                  <a:pt x="957" y="3048"/>
                </a:lnTo>
                <a:lnTo>
                  <a:pt x="933" y="3060"/>
                </a:lnTo>
                <a:lnTo>
                  <a:pt x="910" y="3070"/>
                </a:lnTo>
                <a:lnTo>
                  <a:pt x="884" y="3077"/>
                </a:lnTo>
                <a:lnTo>
                  <a:pt x="857" y="3082"/>
                </a:lnTo>
                <a:lnTo>
                  <a:pt x="830" y="3084"/>
                </a:lnTo>
                <a:lnTo>
                  <a:pt x="810" y="3082"/>
                </a:lnTo>
                <a:lnTo>
                  <a:pt x="791" y="3080"/>
                </a:lnTo>
                <a:lnTo>
                  <a:pt x="773" y="3077"/>
                </a:lnTo>
                <a:lnTo>
                  <a:pt x="754" y="3072"/>
                </a:lnTo>
                <a:lnTo>
                  <a:pt x="735" y="3065"/>
                </a:lnTo>
                <a:lnTo>
                  <a:pt x="718" y="3057"/>
                </a:lnTo>
                <a:lnTo>
                  <a:pt x="703" y="3048"/>
                </a:lnTo>
                <a:lnTo>
                  <a:pt x="686" y="3038"/>
                </a:lnTo>
                <a:lnTo>
                  <a:pt x="673" y="3026"/>
                </a:lnTo>
                <a:lnTo>
                  <a:pt x="657" y="3014"/>
                </a:lnTo>
                <a:lnTo>
                  <a:pt x="644" y="3001"/>
                </a:lnTo>
                <a:lnTo>
                  <a:pt x="632" y="2987"/>
                </a:lnTo>
                <a:lnTo>
                  <a:pt x="620" y="2972"/>
                </a:lnTo>
                <a:lnTo>
                  <a:pt x="610" y="2955"/>
                </a:lnTo>
                <a:lnTo>
                  <a:pt x="601" y="2938"/>
                </a:lnTo>
                <a:lnTo>
                  <a:pt x="593" y="2921"/>
                </a:lnTo>
                <a:lnTo>
                  <a:pt x="578" y="2926"/>
                </a:lnTo>
                <a:lnTo>
                  <a:pt x="564" y="2928"/>
                </a:lnTo>
                <a:lnTo>
                  <a:pt x="549" y="2931"/>
                </a:lnTo>
                <a:lnTo>
                  <a:pt x="534" y="2931"/>
                </a:lnTo>
                <a:lnTo>
                  <a:pt x="517" y="2930"/>
                </a:lnTo>
                <a:lnTo>
                  <a:pt x="500" y="2928"/>
                </a:lnTo>
                <a:lnTo>
                  <a:pt x="483" y="2923"/>
                </a:lnTo>
                <a:lnTo>
                  <a:pt x="468" y="2918"/>
                </a:lnTo>
                <a:lnTo>
                  <a:pt x="452" y="2911"/>
                </a:lnTo>
                <a:lnTo>
                  <a:pt x="439" y="2903"/>
                </a:lnTo>
                <a:lnTo>
                  <a:pt x="425" y="2892"/>
                </a:lnTo>
                <a:lnTo>
                  <a:pt x="413" y="2882"/>
                </a:lnTo>
                <a:lnTo>
                  <a:pt x="403" y="2869"/>
                </a:lnTo>
                <a:lnTo>
                  <a:pt x="393" y="2857"/>
                </a:lnTo>
                <a:lnTo>
                  <a:pt x="385" y="2842"/>
                </a:lnTo>
                <a:lnTo>
                  <a:pt x="378" y="2828"/>
                </a:lnTo>
                <a:lnTo>
                  <a:pt x="371" y="2811"/>
                </a:lnTo>
                <a:lnTo>
                  <a:pt x="368" y="2796"/>
                </a:lnTo>
                <a:lnTo>
                  <a:pt x="364" y="2779"/>
                </a:lnTo>
                <a:lnTo>
                  <a:pt x="364" y="2760"/>
                </a:lnTo>
                <a:lnTo>
                  <a:pt x="364" y="2743"/>
                </a:lnTo>
                <a:lnTo>
                  <a:pt x="368" y="2726"/>
                </a:lnTo>
                <a:lnTo>
                  <a:pt x="371" y="2711"/>
                </a:lnTo>
                <a:lnTo>
                  <a:pt x="378" y="2694"/>
                </a:lnTo>
                <a:lnTo>
                  <a:pt x="385" y="2681"/>
                </a:lnTo>
                <a:lnTo>
                  <a:pt x="393" y="2665"/>
                </a:lnTo>
                <a:lnTo>
                  <a:pt x="403" y="2653"/>
                </a:lnTo>
                <a:lnTo>
                  <a:pt x="413" y="2640"/>
                </a:lnTo>
                <a:lnTo>
                  <a:pt x="425" y="2630"/>
                </a:lnTo>
                <a:lnTo>
                  <a:pt x="439" y="2620"/>
                </a:lnTo>
                <a:lnTo>
                  <a:pt x="452" y="2611"/>
                </a:lnTo>
                <a:lnTo>
                  <a:pt x="468" y="2604"/>
                </a:lnTo>
                <a:lnTo>
                  <a:pt x="483" y="2598"/>
                </a:lnTo>
                <a:lnTo>
                  <a:pt x="500" y="2594"/>
                </a:lnTo>
                <a:lnTo>
                  <a:pt x="517" y="2591"/>
                </a:lnTo>
                <a:lnTo>
                  <a:pt x="534" y="2591"/>
                </a:lnTo>
                <a:lnTo>
                  <a:pt x="539" y="2591"/>
                </a:lnTo>
                <a:lnTo>
                  <a:pt x="546" y="2570"/>
                </a:lnTo>
                <a:lnTo>
                  <a:pt x="554" y="2553"/>
                </a:lnTo>
                <a:lnTo>
                  <a:pt x="564" y="2535"/>
                </a:lnTo>
                <a:lnTo>
                  <a:pt x="574" y="2520"/>
                </a:lnTo>
                <a:lnTo>
                  <a:pt x="588" y="2504"/>
                </a:lnTo>
                <a:lnTo>
                  <a:pt x="601" y="2491"/>
                </a:lnTo>
                <a:lnTo>
                  <a:pt x="615" y="2479"/>
                </a:lnTo>
                <a:lnTo>
                  <a:pt x="630" y="2467"/>
                </a:lnTo>
                <a:lnTo>
                  <a:pt x="645" y="2457"/>
                </a:lnTo>
                <a:lnTo>
                  <a:pt x="661" y="2448"/>
                </a:lnTo>
                <a:lnTo>
                  <a:pt x="676" y="2442"/>
                </a:lnTo>
                <a:lnTo>
                  <a:pt x="691" y="2437"/>
                </a:lnTo>
                <a:lnTo>
                  <a:pt x="705" y="2431"/>
                </a:lnTo>
                <a:lnTo>
                  <a:pt x="718" y="2430"/>
                </a:lnTo>
                <a:lnTo>
                  <a:pt x="732" y="2428"/>
                </a:lnTo>
                <a:lnTo>
                  <a:pt x="742" y="2430"/>
                </a:lnTo>
                <a:lnTo>
                  <a:pt x="759" y="2421"/>
                </a:lnTo>
                <a:lnTo>
                  <a:pt x="776" y="2416"/>
                </a:lnTo>
                <a:lnTo>
                  <a:pt x="793" y="2411"/>
                </a:lnTo>
                <a:lnTo>
                  <a:pt x="808" y="2408"/>
                </a:lnTo>
                <a:lnTo>
                  <a:pt x="839" y="2404"/>
                </a:lnTo>
                <a:lnTo>
                  <a:pt x="869" y="2404"/>
                </a:lnTo>
                <a:lnTo>
                  <a:pt x="896" y="2408"/>
                </a:lnTo>
                <a:lnTo>
                  <a:pt x="923" y="2413"/>
                </a:lnTo>
                <a:lnTo>
                  <a:pt x="949" y="2421"/>
                </a:lnTo>
                <a:lnTo>
                  <a:pt x="972" y="2433"/>
                </a:lnTo>
                <a:lnTo>
                  <a:pt x="994" y="2445"/>
                </a:lnTo>
                <a:lnTo>
                  <a:pt x="1015" y="2457"/>
                </a:lnTo>
                <a:lnTo>
                  <a:pt x="1033" y="2470"/>
                </a:lnTo>
                <a:lnTo>
                  <a:pt x="1050" y="2484"/>
                </a:lnTo>
                <a:lnTo>
                  <a:pt x="1077" y="2508"/>
                </a:lnTo>
                <a:lnTo>
                  <a:pt x="1098" y="2526"/>
                </a:lnTo>
                <a:lnTo>
                  <a:pt x="1062" y="2581"/>
                </a:lnTo>
                <a:close/>
                <a:moveTo>
                  <a:pt x="647" y="2877"/>
                </a:moveTo>
                <a:lnTo>
                  <a:pt x="647" y="2877"/>
                </a:lnTo>
                <a:lnTo>
                  <a:pt x="654" y="2892"/>
                </a:lnTo>
                <a:lnTo>
                  <a:pt x="661" y="2908"/>
                </a:lnTo>
                <a:lnTo>
                  <a:pt x="668" y="2921"/>
                </a:lnTo>
                <a:lnTo>
                  <a:pt x="678" y="2933"/>
                </a:lnTo>
                <a:lnTo>
                  <a:pt x="686" y="2947"/>
                </a:lnTo>
                <a:lnTo>
                  <a:pt x="696" y="2957"/>
                </a:lnTo>
                <a:lnTo>
                  <a:pt x="708" y="2969"/>
                </a:lnTo>
                <a:lnTo>
                  <a:pt x="720" y="2977"/>
                </a:lnTo>
                <a:lnTo>
                  <a:pt x="732" y="2986"/>
                </a:lnTo>
                <a:lnTo>
                  <a:pt x="744" y="2994"/>
                </a:lnTo>
                <a:lnTo>
                  <a:pt x="757" y="3001"/>
                </a:lnTo>
                <a:lnTo>
                  <a:pt x="771" y="3006"/>
                </a:lnTo>
                <a:lnTo>
                  <a:pt x="786" y="3011"/>
                </a:lnTo>
                <a:lnTo>
                  <a:pt x="800" y="3013"/>
                </a:lnTo>
                <a:lnTo>
                  <a:pt x="815" y="3016"/>
                </a:lnTo>
                <a:lnTo>
                  <a:pt x="830" y="3016"/>
                </a:lnTo>
                <a:lnTo>
                  <a:pt x="849" y="3014"/>
                </a:lnTo>
                <a:lnTo>
                  <a:pt x="867" y="3011"/>
                </a:lnTo>
                <a:lnTo>
                  <a:pt x="886" y="3006"/>
                </a:lnTo>
                <a:lnTo>
                  <a:pt x="905" y="2999"/>
                </a:lnTo>
                <a:lnTo>
                  <a:pt x="922" y="2991"/>
                </a:lnTo>
                <a:lnTo>
                  <a:pt x="939" y="2979"/>
                </a:lnTo>
                <a:lnTo>
                  <a:pt x="952" y="2967"/>
                </a:lnTo>
                <a:lnTo>
                  <a:pt x="967" y="2953"/>
                </a:lnTo>
                <a:lnTo>
                  <a:pt x="979" y="2936"/>
                </a:lnTo>
                <a:lnTo>
                  <a:pt x="991" y="2919"/>
                </a:lnTo>
                <a:lnTo>
                  <a:pt x="1001" y="2903"/>
                </a:lnTo>
                <a:lnTo>
                  <a:pt x="1010" y="2882"/>
                </a:lnTo>
                <a:lnTo>
                  <a:pt x="1016" y="2862"/>
                </a:lnTo>
                <a:lnTo>
                  <a:pt x="1022" y="2840"/>
                </a:lnTo>
                <a:lnTo>
                  <a:pt x="1025" y="2818"/>
                </a:lnTo>
                <a:lnTo>
                  <a:pt x="1025" y="2796"/>
                </a:lnTo>
                <a:lnTo>
                  <a:pt x="1025" y="2718"/>
                </a:lnTo>
                <a:lnTo>
                  <a:pt x="1025" y="2699"/>
                </a:lnTo>
                <a:lnTo>
                  <a:pt x="1023" y="2681"/>
                </a:lnTo>
                <a:lnTo>
                  <a:pt x="1020" y="2664"/>
                </a:lnTo>
                <a:lnTo>
                  <a:pt x="1015" y="2647"/>
                </a:lnTo>
                <a:lnTo>
                  <a:pt x="1000" y="2660"/>
                </a:lnTo>
                <a:lnTo>
                  <a:pt x="981" y="2674"/>
                </a:lnTo>
                <a:lnTo>
                  <a:pt x="961" y="2686"/>
                </a:lnTo>
                <a:lnTo>
                  <a:pt x="940" y="2697"/>
                </a:lnTo>
                <a:lnTo>
                  <a:pt x="900" y="2718"/>
                </a:lnTo>
                <a:lnTo>
                  <a:pt x="857" y="2735"/>
                </a:lnTo>
                <a:lnTo>
                  <a:pt x="822" y="2748"/>
                </a:lnTo>
                <a:lnTo>
                  <a:pt x="791" y="2757"/>
                </a:lnTo>
                <a:lnTo>
                  <a:pt x="764" y="2765"/>
                </a:lnTo>
                <a:lnTo>
                  <a:pt x="752" y="2753"/>
                </a:lnTo>
                <a:lnTo>
                  <a:pt x="740" y="2743"/>
                </a:lnTo>
                <a:lnTo>
                  <a:pt x="734" y="2738"/>
                </a:lnTo>
                <a:lnTo>
                  <a:pt x="725" y="2736"/>
                </a:lnTo>
                <a:lnTo>
                  <a:pt x="717" y="2735"/>
                </a:lnTo>
                <a:lnTo>
                  <a:pt x="708" y="2733"/>
                </a:lnTo>
                <a:lnTo>
                  <a:pt x="696" y="2735"/>
                </a:lnTo>
                <a:lnTo>
                  <a:pt x="684" y="2740"/>
                </a:lnTo>
                <a:lnTo>
                  <a:pt x="673" y="2747"/>
                </a:lnTo>
                <a:lnTo>
                  <a:pt x="662" y="2755"/>
                </a:lnTo>
                <a:lnTo>
                  <a:pt x="656" y="2765"/>
                </a:lnTo>
                <a:lnTo>
                  <a:pt x="649" y="2777"/>
                </a:lnTo>
                <a:lnTo>
                  <a:pt x="645" y="2791"/>
                </a:lnTo>
                <a:lnTo>
                  <a:pt x="644" y="2806"/>
                </a:lnTo>
                <a:lnTo>
                  <a:pt x="644" y="2855"/>
                </a:lnTo>
                <a:lnTo>
                  <a:pt x="645" y="2867"/>
                </a:lnTo>
                <a:lnTo>
                  <a:pt x="647" y="2877"/>
                </a:lnTo>
                <a:close/>
                <a:moveTo>
                  <a:pt x="6028" y="329"/>
                </a:moveTo>
                <a:lnTo>
                  <a:pt x="6028" y="329"/>
                </a:lnTo>
                <a:lnTo>
                  <a:pt x="6019" y="330"/>
                </a:lnTo>
                <a:lnTo>
                  <a:pt x="6011" y="332"/>
                </a:lnTo>
                <a:lnTo>
                  <a:pt x="6002" y="334"/>
                </a:lnTo>
                <a:lnTo>
                  <a:pt x="5996" y="339"/>
                </a:lnTo>
                <a:lnTo>
                  <a:pt x="5989" y="344"/>
                </a:lnTo>
                <a:lnTo>
                  <a:pt x="5984" y="349"/>
                </a:lnTo>
                <a:lnTo>
                  <a:pt x="5974" y="363"/>
                </a:lnTo>
                <a:lnTo>
                  <a:pt x="5941" y="352"/>
                </a:lnTo>
                <a:lnTo>
                  <a:pt x="5911" y="342"/>
                </a:lnTo>
                <a:lnTo>
                  <a:pt x="5874" y="330"/>
                </a:lnTo>
                <a:lnTo>
                  <a:pt x="5835" y="313"/>
                </a:lnTo>
                <a:lnTo>
                  <a:pt x="5794" y="293"/>
                </a:lnTo>
                <a:lnTo>
                  <a:pt x="5774" y="281"/>
                </a:lnTo>
                <a:lnTo>
                  <a:pt x="5755" y="269"/>
                </a:lnTo>
                <a:lnTo>
                  <a:pt x="5738" y="258"/>
                </a:lnTo>
                <a:lnTo>
                  <a:pt x="5721" y="244"/>
                </a:lnTo>
                <a:lnTo>
                  <a:pt x="5718" y="261"/>
                </a:lnTo>
                <a:lnTo>
                  <a:pt x="5714" y="278"/>
                </a:lnTo>
                <a:lnTo>
                  <a:pt x="5713" y="297"/>
                </a:lnTo>
                <a:lnTo>
                  <a:pt x="5711" y="313"/>
                </a:lnTo>
                <a:lnTo>
                  <a:pt x="5711" y="391"/>
                </a:lnTo>
                <a:lnTo>
                  <a:pt x="5713" y="415"/>
                </a:lnTo>
                <a:lnTo>
                  <a:pt x="5716" y="437"/>
                </a:lnTo>
                <a:lnTo>
                  <a:pt x="5721" y="459"/>
                </a:lnTo>
                <a:lnTo>
                  <a:pt x="5728" y="480"/>
                </a:lnTo>
                <a:lnTo>
                  <a:pt x="5736" y="498"/>
                </a:lnTo>
                <a:lnTo>
                  <a:pt x="5745" y="517"/>
                </a:lnTo>
                <a:lnTo>
                  <a:pt x="5757" y="534"/>
                </a:lnTo>
                <a:lnTo>
                  <a:pt x="5770" y="549"/>
                </a:lnTo>
                <a:lnTo>
                  <a:pt x="5784" y="564"/>
                </a:lnTo>
                <a:lnTo>
                  <a:pt x="5799" y="576"/>
                </a:lnTo>
                <a:lnTo>
                  <a:pt x="5816" y="586"/>
                </a:lnTo>
                <a:lnTo>
                  <a:pt x="5833" y="596"/>
                </a:lnTo>
                <a:lnTo>
                  <a:pt x="5850" y="603"/>
                </a:lnTo>
                <a:lnTo>
                  <a:pt x="5869" y="608"/>
                </a:lnTo>
                <a:lnTo>
                  <a:pt x="5887" y="612"/>
                </a:lnTo>
                <a:lnTo>
                  <a:pt x="5908" y="613"/>
                </a:lnTo>
                <a:lnTo>
                  <a:pt x="5921" y="612"/>
                </a:lnTo>
                <a:lnTo>
                  <a:pt x="5936" y="610"/>
                </a:lnTo>
                <a:lnTo>
                  <a:pt x="5950" y="608"/>
                </a:lnTo>
                <a:lnTo>
                  <a:pt x="5963" y="603"/>
                </a:lnTo>
                <a:lnTo>
                  <a:pt x="5977" y="598"/>
                </a:lnTo>
                <a:lnTo>
                  <a:pt x="5991" y="591"/>
                </a:lnTo>
                <a:lnTo>
                  <a:pt x="6002" y="585"/>
                </a:lnTo>
                <a:lnTo>
                  <a:pt x="6014" y="576"/>
                </a:lnTo>
                <a:lnTo>
                  <a:pt x="6026" y="568"/>
                </a:lnTo>
                <a:lnTo>
                  <a:pt x="6036" y="557"/>
                </a:lnTo>
                <a:lnTo>
                  <a:pt x="6046" y="547"/>
                </a:lnTo>
                <a:lnTo>
                  <a:pt x="6057" y="535"/>
                </a:lnTo>
                <a:lnTo>
                  <a:pt x="6065" y="524"/>
                </a:lnTo>
                <a:lnTo>
                  <a:pt x="6074" y="510"/>
                </a:lnTo>
                <a:lnTo>
                  <a:pt x="6080" y="496"/>
                </a:lnTo>
                <a:lnTo>
                  <a:pt x="6087" y="483"/>
                </a:lnTo>
                <a:lnTo>
                  <a:pt x="6091" y="468"/>
                </a:lnTo>
                <a:lnTo>
                  <a:pt x="6092" y="451"/>
                </a:lnTo>
                <a:lnTo>
                  <a:pt x="6092" y="400"/>
                </a:lnTo>
                <a:lnTo>
                  <a:pt x="6091" y="386"/>
                </a:lnTo>
                <a:lnTo>
                  <a:pt x="6087" y="373"/>
                </a:lnTo>
                <a:lnTo>
                  <a:pt x="6080" y="361"/>
                </a:lnTo>
                <a:lnTo>
                  <a:pt x="6074" y="351"/>
                </a:lnTo>
                <a:lnTo>
                  <a:pt x="6063" y="342"/>
                </a:lnTo>
                <a:lnTo>
                  <a:pt x="6052" y="335"/>
                </a:lnTo>
                <a:lnTo>
                  <a:pt x="6040" y="330"/>
                </a:lnTo>
                <a:lnTo>
                  <a:pt x="6028" y="329"/>
                </a:lnTo>
                <a:close/>
                <a:moveTo>
                  <a:pt x="6145" y="518"/>
                </a:moveTo>
                <a:lnTo>
                  <a:pt x="6145" y="518"/>
                </a:lnTo>
                <a:lnTo>
                  <a:pt x="6136" y="535"/>
                </a:lnTo>
                <a:lnTo>
                  <a:pt x="6126" y="552"/>
                </a:lnTo>
                <a:lnTo>
                  <a:pt x="6116" y="568"/>
                </a:lnTo>
                <a:lnTo>
                  <a:pt x="6104" y="583"/>
                </a:lnTo>
                <a:lnTo>
                  <a:pt x="6092" y="598"/>
                </a:lnTo>
                <a:lnTo>
                  <a:pt x="6079" y="612"/>
                </a:lnTo>
                <a:lnTo>
                  <a:pt x="6065" y="624"/>
                </a:lnTo>
                <a:lnTo>
                  <a:pt x="6050" y="635"/>
                </a:lnTo>
                <a:lnTo>
                  <a:pt x="6035" y="646"/>
                </a:lnTo>
                <a:lnTo>
                  <a:pt x="6018" y="654"/>
                </a:lnTo>
                <a:lnTo>
                  <a:pt x="6001" y="663"/>
                </a:lnTo>
                <a:lnTo>
                  <a:pt x="5984" y="669"/>
                </a:lnTo>
                <a:lnTo>
                  <a:pt x="5965" y="674"/>
                </a:lnTo>
                <a:lnTo>
                  <a:pt x="5947" y="678"/>
                </a:lnTo>
                <a:lnTo>
                  <a:pt x="5928" y="679"/>
                </a:lnTo>
                <a:lnTo>
                  <a:pt x="5908" y="681"/>
                </a:lnTo>
                <a:lnTo>
                  <a:pt x="5880" y="679"/>
                </a:lnTo>
                <a:lnTo>
                  <a:pt x="5853" y="674"/>
                </a:lnTo>
                <a:lnTo>
                  <a:pt x="5828" y="668"/>
                </a:lnTo>
                <a:lnTo>
                  <a:pt x="5804" y="657"/>
                </a:lnTo>
                <a:lnTo>
                  <a:pt x="5780" y="646"/>
                </a:lnTo>
                <a:lnTo>
                  <a:pt x="5758" y="630"/>
                </a:lnTo>
                <a:lnTo>
                  <a:pt x="5738" y="613"/>
                </a:lnTo>
                <a:lnTo>
                  <a:pt x="5720" y="595"/>
                </a:lnTo>
                <a:lnTo>
                  <a:pt x="5703" y="574"/>
                </a:lnTo>
                <a:lnTo>
                  <a:pt x="5687" y="552"/>
                </a:lnTo>
                <a:lnTo>
                  <a:pt x="5675" y="529"/>
                </a:lnTo>
                <a:lnTo>
                  <a:pt x="5664" y="503"/>
                </a:lnTo>
                <a:lnTo>
                  <a:pt x="5655" y="476"/>
                </a:lnTo>
                <a:lnTo>
                  <a:pt x="5648" y="449"/>
                </a:lnTo>
                <a:lnTo>
                  <a:pt x="5645" y="420"/>
                </a:lnTo>
                <a:lnTo>
                  <a:pt x="5643" y="391"/>
                </a:lnTo>
                <a:lnTo>
                  <a:pt x="5643" y="313"/>
                </a:lnTo>
                <a:lnTo>
                  <a:pt x="5643" y="297"/>
                </a:lnTo>
                <a:lnTo>
                  <a:pt x="5645" y="278"/>
                </a:lnTo>
                <a:lnTo>
                  <a:pt x="5648" y="261"/>
                </a:lnTo>
                <a:lnTo>
                  <a:pt x="5652" y="242"/>
                </a:lnTo>
                <a:lnTo>
                  <a:pt x="5662" y="210"/>
                </a:lnTo>
                <a:lnTo>
                  <a:pt x="5675" y="178"/>
                </a:lnTo>
                <a:lnTo>
                  <a:pt x="5640" y="122"/>
                </a:lnTo>
                <a:lnTo>
                  <a:pt x="5659" y="105"/>
                </a:lnTo>
                <a:lnTo>
                  <a:pt x="5687" y="81"/>
                </a:lnTo>
                <a:lnTo>
                  <a:pt x="5703" y="68"/>
                </a:lnTo>
                <a:lnTo>
                  <a:pt x="5721" y="54"/>
                </a:lnTo>
                <a:lnTo>
                  <a:pt x="5742" y="41"/>
                </a:lnTo>
                <a:lnTo>
                  <a:pt x="5764" y="29"/>
                </a:lnTo>
                <a:lnTo>
                  <a:pt x="5787" y="19"/>
                </a:lnTo>
                <a:lnTo>
                  <a:pt x="5813" y="10"/>
                </a:lnTo>
                <a:lnTo>
                  <a:pt x="5840" y="3"/>
                </a:lnTo>
                <a:lnTo>
                  <a:pt x="5869" y="0"/>
                </a:lnTo>
                <a:lnTo>
                  <a:pt x="5897" y="0"/>
                </a:lnTo>
                <a:lnTo>
                  <a:pt x="5928" y="5"/>
                </a:lnTo>
                <a:lnTo>
                  <a:pt x="5945" y="8"/>
                </a:lnTo>
                <a:lnTo>
                  <a:pt x="5962" y="14"/>
                </a:lnTo>
                <a:lnTo>
                  <a:pt x="5977" y="19"/>
                </a:lnTo>
                <a:lnTo>
                  <a:pt x="5994" y="25"/>
                </a:lnTo>
                <a:lnTo>
                  <a:pt x="6006" y="25"/>
                </a:lnTo>
                <a:lnTo>
                  <a:pt x="6018" y="27"/>
                </a:lnTo>
                <a:lnTo>
                  <a:pt x="6031" y="29"/>
                </a:lnTo>
                <a:lnTo>
                  <a:pt x="6046" y="34"/>
                </a:lnTo>
                <a:lnTo>
                  <a:pt x="6062" y="39"/>
                </a:lnTo>
                <a:lnTo>
                  <a:pt x="6077" y="46"/>
                </a:lnTo>
                <a:lnTo>
                  <a:pt x="6092" y="54"/>
                </a:lnTo>
                <a:lnTo>
                  <a:pt x="6107" y="64"/>
                </a:lnTo>
                <a:lnTo>
                  <a:pt x="6123" y="75"/>
                </a:lnTo>
                <a:lnTo>
                  <a:pt x="6136" y="88"/>
                </a:lnTo>
                <a:lnTo>
                  <a:pt x="6150" y="102"/>
                </a:lnTo>
                <a:lnTo>
                  <a:pt x="6162" y="117"/>
                </a:lnTo>
                <a:lnTo>
                  <a:pt x="6174" y="132"/>
                </a:lnTo>
                <a:lnTo>
                  <a:pt x="6184" y="149"/>
                </a:lnTo>
                <a:lnTo>
                  <a:pt x="6190" y="168"/>
                </a:lnTo>
                <a:lnTo>
                  <a:pt x="6197" y="188"/>
                </a:lnTo>
                <a:lnTo>
                  <a:pt x="6202" y="188"/>
                </a:lnTo>
                <a:lnTo>
                  <a:pt x="6219" y="188"/>
                </a:lnTo>
                <a:lnTo>
                  <a:pt x="6236" y="191"/>
                </a:lnTo>
                <a:lnTo>
                  <a:pt x="6253" y="195"/>
                </a:lnTo>
                <a:lnTo>
                  <a:pt x="6268" y="202"/>
                </a:lnTo>
                <a:lnTo>
                  <a:pt x="6284" y="208"/>
                </a:lnTo>
                <a:lnTo>
                  <a:pt x="6297" y="217"/>
                </a:lnTo>
                <a:lnTo>
                  <a:pt x="6311" y="227"/>
                </a:lnTo>
                <a:lnTo>
                  <a:pt x="6323" y="237"/>
                </a:lnTo>
                <a:lnTo>
                  <a:pt x="6334" y="249"/>
                </a:lnTo>
                <a:lnTo>
                  <a:pt x="6345" y="263"/>
                </a:lnTo>
                <a:lnTo>
                  <a:pt x="6353" y="276"/>
                </a:lnTo>
                <a:lnTo>
                  <a:pt x="6360" y="291"/>
                </a:lnTo>
                <a:lnTo>
                  <a:pt x="6365" y="307"/>
                </a:lnTo>
                <a:lnTo>
                  <a:pt x="6370" y="324"/>
                </a:lnTo>
                <a:lnTo>
                  <a:pt x="6372" y="341"/>
                </a:lnTo>
                <a:lnTo>
                  <a:pt x="6373" y="358"/>
                </a:lnTo>
                <a:lnTo>
                  <a:pt x="6372" y="374"/>
                </a:lnTo>
                <a:lnTo>
                  <a:pt x="6370" y="391"/>
                </a:lnTo>
                <a:lnTo>
                  <a:pt x="6365" y="408"/>
                </a:lnTo>
                <a:lnTo>
                  <a:pt x="6360" y="424"/>
                </a:lnTo>
                <a:lnTo>
                  <a:pt x="6353" y="439"/>
                </a:lnTo>
                <a:lnTo>
                  <a:pt x="6345" y="452"/>
                </a:lnTo>
                <a:lnTo>
                  <a:pt x="6334" y="466"/>
                </a:lnTo>
                <a:lnTo>
                  <a:pt x="6323" y="478"/>
                </a:lnTo>
                <a:lnTo>
                  <a:pt x="6311" y="490"/>
                </a:lnTo>
                <a:lnTo>
                  <a:pt x="6297" y="500"/>
                </a:lnTo>
                <a:lnTo>
                  <a:pt x="6284" y="508"/>
                </a:lnTo>
                <a:lnTo>
                  <a:pt x="6268" y="515"/>
                </a:lnTo>
                <a:lnTo>
                  <a:pt x="6253" y="520"/>
                </a:lnTo>
                <a:lnTo>
                  <a:pt x="6236" y="525"/>
                </a:lnTo>
                <a:lnTo>
                  <a:pt x="6219" y="527"/>
                </a:lnTo>
                <a:lnTo>
                  <a:pt x="6202" y="529"/>
                </a:lnTo>
                <a:lnTo>
                  <a:pt x="6187" y="527"/>
                </a:lnTo>
                <a:lnTo>
                  <a:pt x="6174" y="525"/>
                </a:lnTo>
                <a:lnTo>
                  <a:pt x="6158" y="522"/>
                </a:lnTo>
                <a:lnTo>
                  <a:pt x="6145" y="518"/>
                </a:lnTo>
                <a:close/>
                <a:moveTo>
                  <a:pt x="6172" y="2713"/>
                </a:moveTo>
                <a:lnTo>
                  <a:pt x="6172" y="2718"/>
                </a:lnTo>
                <a:lnTo>
                  <a:pt x="6172" y="2796"/>
                </a:lnTo>
                <a:lnTo>
                  <a:pt x="6170" y="2825"/>
                </a:lnTo>
                <a:lnTo>
                  <a:pt x="6167" y="2852"/>
                </a:lnTo>
                <a:lnTo>
                  <a:pt x="6160" y="2879"/>
                </a:lnTo>
                <a:lnTo>
                  <a:pt x="6152" y="2906"/>
                </a:lnTo>
                <a:lnTo>
                  <a:pt x="6140" y="2931"/>
                </a:lnTo>
                <a:lnTo>
                  <a:pt x="6128" y="2955"/>
                </a:lnTo>
                <a:lnTo>
                  <a:pt x="6113" y="2977"/>
                </a:lnTo>
                <a:lnTo>
                  <a:pt x="6096" y="2997"/>
                </a:lnTo>
                <a:lnTo>
                  <a:pt x="6077" y="3016"/>
                </a:lnTo>
                <a:lnTo>
                  <a:pt x="6057" y="3033"/>
                </a:lnTo>
                <a:lnTo>
                  <a:pt x="6035" y="3048"/>
                </a:lnTo>
                <a:lnTo>
                  <a:pt x="6011" y="3060"/>
                </a:lnTo>
                <a:lnTo>
                  <a:pt x="5987" y="3070"/>
                </a:lnTo>
                <a:lnTo>
                  <a:pt x="5962" y="3077"/>
                </a:lnTo>
                <a:lnTo>
                  <a:pt x="5935" y="3082"/>
                </a:lnTo>
                <a:lnTo>
                  <a:pt x="5908" y="3084"/>
                </a:lnTo>
                <a:lnTo>
                  <a:pt x="5880" y="3082"/>
                </a:lnTo>
                <a:lnTo>
                  <a:pt x="5853" y="3077"/>
                </a:lnTo>
                <a:lnTo>
                  <a:pt x="5828" y="3070"/>
                </a:lnTo>
                <a:lnTo>
                  <a:pt x="5803" y="3060"/>
                </a:lnTo>
                <a:lnTo>
                  <a:pt x="5780" y="3048"/>
                </a:lnTo>
                <a:lnTo>
                  <a:pt x="5758" y="3033"/>
                </a:lnTo>
                <a:lnTo>
                  <a:pt x="5738" y="3016"/>
                </a:lnTo>
                <a:lnTo>
                  <a:pt x="5720" y="2997"/>
                </a:lnTo>
                <a:lnTo>
                  <a:pt x="5703" y="2977"/>
                </a:lnTo>
                <a:lnTo>
                  <a:pt x="5687" y="2955"/>
                </a:lnTo>
                <a:lnTo>
                  <a:pt x="5675" y="2931"/>
                </a:lnTo>
                <a:lnTo>
                  <a:pt x="5664" y="2906"/>
                </a:lnTo>
                <a:lnTo>
                  <a:pt x="5655" y="2879"/>
                </a:lnTo>
                <a:lnTo>
                  <a:pt x="5648" y="2852"/>
                </a:lnTo>
                <a:lnTo>
                  <a:pt x="5645" y="2825"/>
                </a:lnTo>
                <a:lnTo>
                  <a:pt x="5643" y="2796"/>
                </a:lnTo>
                <a:lnTo>
                  <a:pt x="5643" y="2718"/>
                </a:lnTo>
                <a:lnTo>
                  <a:pt x="5645" y="2689"/>
                </a:lnTo>
                <a:lnTo>
                  <a:pt x="5648" y="2660"/>
                </a:lnTo>
                <a:lnTo>
                  <a:pt x="5655" y="2633"/>
                </a:lnTo>
                <a:lnTo>
                  <a:pt x="5664" y="2606"/>
                </a:lnTo>
                <a:lnTo>
                  <a:pt x="5675" y="2581"/>
                </a:lnTo>
                <a:lnTo>
                  <a:pt x="5687" y="2557"/>
                </a:lnTo>
                <a:lnTo>
                  <a:pt x="5703" y="2535"/>
                </a:lnTo>
                <a:lnTo>
                  <a:pt x="5720" y="2514"/>
                </a:lnTo>
                <a:lnTo>
                  <a:pt x="5618" y="2492"/>
                </a:lnTo>
                <a:lnTo>
                  <a:pt x="5618" y="2426"/>
                </a:lnTo>
                <a:lnTo>
                  <a:pt x="5962" y="2415"/>
                </a:lnTo>
                <a:lnTo>
                  <a:pt x="5979" y="2416"/>
                </a:lnTo>
                <a:lnTo>
                  <a:pt x="5996" y="2420"/>
                </a:lnTo>
                <a:lnTo>
                  <a:pt x="6013" y="2425"/>
                </a:lnTo>
                <a:lnTo>
                  <a:pt x="6030" y="2433"/>
                </a:lnTo>
                <a:lnTo>
                  <a:pt x="6048" y="2443"/>
                </a:lnTo>
                <a:lnTo>
                  <a:pt x="6065" y="2457"/>
                </a:lnTo>
                <a:lnTo>
                  <a:pt x="6082" y="2472"/>
                </a:lnTo>
                <a:lnTo>
                  <a:pt x="6097" y="2489"/>
                </a:lnTo>
                <a:lnTo>
                  <a:pt x="6113" y="2509"/>
                </a:lnTo>
                <a:lnTo>
                  <a:pt x="6128" y="2530"/>
                </a:lnTo>
                <a:lnTo>
                  <a:pt x="6140" y="2553"/>
                </a:lnTo>
                <a:lnTo>
                  <a:pt x="6150" y="2581"/>
                </a:lnTo>
                <a:lnTo>
                  <a:pt x="6160" y="2608"/>
                </a:lnTo>
                <a:lnTo>
                  <a:pt x="6165" y="2638"/>
                </a:lnTo>
                <a:lnTo>
                  <a:pt x="6170" y="2669"/>
                </a:lnTo>
                <a:lnTo>
                  <a:pt x="6172" y="2703"/>
                </a:lnTo>
                <a:lnTo>
                  <a:pt x="6172" y="2713"/>
                </a:lnTo>
                <a:close/>
                <a:moveTo>
                  <a:pt x="5801" y="2531"/>
                </a:moveTo>
                <a:lnTo>
                  <a:pt x="5801" y="2531"/>
                </a:lnTo>
                <a:lnTo>
                  <a:pt x="5782" y="2547"/>
                </a:lnTo>
                <a:lnTo>
                  <a:pt x="5765" y="2565"/>
                </a:lnTo>
                <a:lnTo>
                  <a:pt x="5750" y="2586"/>
                </a:lnTo>
                <a:lnTo>
                  <a:pt x="5736" y="2609"/>
                </a:lnTo>
                <a:lnTo>
                  <a:pt x="5726" y="2633"/>
                </a:lnTo>
                <a:lnTo>
                  <a:pt x="5718" y="2660"/>
                </a:lnTo>
                <a:lnTo>
                  <a:pt x="5713" y="2687"/>
                </a:lnTo>
                <a:lnTo>
                  <a:pt x="5711" y="2718"/>
                </a:lnTo>
                <a:lnTo>
                  <a:pt x="5711" y="2796"/>
                </a:lnTo>
                <a:lnTo>
                  <a:pt x="5713" y="2818"/>
                </a:lnTo>
                <a:lnTo>
                  <a:pt x="5716" y="2840"/>
                </a:lnTo>
                <a:lnTo>
                  <a:pt x="5721" y="2862"/>
                </a:lnTo>
                <a:lnTo>
                  <a:pt x="5728" y="2882"/>
                </a:lnTo>
                <a:lnTo>
                  <a:pt x="5736" y="2903"/>
                </a:lnTo>
                <a:lnTo>
                  <a:pt x="5745" y="2919"/>
                </a:lnTo>
                <a:lnTo>
                  <a:pt x="5757" y="2936"/>
                </a:lnTo>
                <a:lnTo>
                  <a:pt x="5770" y="2953"/>
                </a:lnTo>
                <a:lnTo>
                  <a:pt x="5784" y="2967"/>
                </a:lnTo>
                <a:lnTo>
                  <a:pt x="5799" y="2979"/>
                </a:lnTo>
                <a:lnTo>
                  <a:pt x="5816" y="2991"/>
                </a:lnTo>
                <a:lnTo>
                  <a:pt x="5833" y="2999"/>
                </a:lnTo>
                <a:lnTo>
                  <a:pt x="5850" y="3006"/>
                </a:lnTo>
                <a:lnTo>
                  <a:pt x="5869" y="3011"/>
                </a:lnTo>
                <a:lnTo>
                  <a:pt x="5887" y="3014"/>
                </a:lnTo>
                <a:lnTo>
                  <a:pt x="5908" y="3016"/>
                </a:lnTo>
                <a:lnTo>
                  <a:pt x="5926" y="3014"/>
                </a:lnTo>
                <a:lnTo>
                  <a:pt x="5945" y="3011"/>
                </a:lnTo>
                <a:lnTo>
                  <a:pt x="5963" y="3006"/>
                </a:lnTo>
                <a:lnTo>
                  <a:pt x="5982" y="2999"/>
                </a:lnTo>
                <a:lnTo>
                  <a:pt x="5999" y="2991"/>
                </a:lnTo>
                <a:lnTo>
                  <a:pt x="6014" y="2980"/>
                </a:lnTo>
                <a:lnTo>
                  <a:pt x="6030" y="2967"/>
                </a:lnTo>
                <a:lnTo>
                  <a:pt x="6043" y="2953"/>
                </a:lnTo>
                <a:lnTo>
                  <a:pt x="6057" y="2938"/>
                </a:lnTo>
                <a:lnTo>
                  <a:pt x="6068" y="2921"/>
                </a:lnTo>
                <a:lnTo>
                  <a:pt x="6079" y="2904"/>
                </a:lnTo>
                <a:lnTo>
                  <a:pt x="6087" y="2886"/>
                </a:lnTo>
                <a:lnTo>
                  <a:pt x="6094" y="2865"/>
                </a:lnTo>
                <a:lnTo>
                  <a:pt x="6099" y="2843"/>
                </a:lnTo>
                <a:lnTo>
                  <a:pt x="6102" y="2821"/>
                </a:lnTo>
                <a:lnTo>
                  <a:pt x="6104" y="2799"/>
                </a:lnTo>
                <a:lnTo>
                  <a:pt x="5985" y="2838"/>
                </a:lnTo>
                <a:lnTo>
                  <a:pt x="5977" y="2669"/>
                </a:lnTo>
                <a:lnTo>
                  <a:pt x="5853" y="2669"/>
                </a:lnTo>
                <a:lnTo>
                  <a:pt x="5899" y="2552"/>
                </a:lnTo>
                <a:lnTo>
                  <a:pt x="5801" y="2531"/>
                </a:lnTo>
                <a:close/>
                <a:moveTo>
                  <a:pt x="4183" y="293"/>
                </a:moveTo>
                <a:lnTo>
                  <a:pt x="4279" y="274"/>
                </a:lnTo>
                <a:lnTo>
                  <a:pt x="4508" y="1596"/>
                </a:lnTo>
                <a:lnTo>
                  <a:pt x="4412" y="1615"/>
                </a:lnTo>
                <a:lnTo>
                  <a:pt x="4371" y="1474"/>
                </a:lnTo>
                <a:lnTo>
                  <a:pt x="4352" y="1405"/>
                </a:lnTo>
                <a:lnTo>
                  <a:pt x="4334" y="1333"/>
                </a:lnTo>
                <a:lnTo>
                  <a:pt x="4317" y="1262"/>
                </a:lnTo>
                <a:lnTo>
                  <a:pt x="4300" y="1191"/>
                </a:lnTo>
                <a:lnTo>
                  <a:pt x="4285" y="1120"/>
                </a:lnTo>
                <a:lnTo>
                  <a:pt x="4271" y="1049"/>
                </a:lnTo>
                <a:lnTo>
                  <a:pt x="3990" y="1769"/>
                </a:lnTo>
                <a:lnTo>
                  <a:pt x="3983" y="1793"/>
                </a:lnTo>
                <a:lnTo>
                  <a:pt x="3980" y="1811"/>
                </a:lnTo>
                <a:lnTo>
                  <a:pt x="3981" y="1827"/>
                </a:lnTo>
                <a:lnTo>
                  <a:pt x="3983" y="1833"/>
                </a:lnTo>
                <a:lnTo>
                  <a:pt x="3985" y="1840"/>
                </a:lnTo>
                <a:lnTo>
                  <a:pt x="3988" y="1845"/>
                </a:lnTo>
                <a:lnTo>
                  <a:pt x="3991" y="1850"/>
                </a:lnTo>
                <a:lnTo>
                  <a:pt x="4002" y="1857"/>
                </a:lnTo>
                <a:lnTo>
                  <a:pt x="4015" y="1862"/>
                </a:lnTo>
                <a:lnTo>
                  <a:pt x="4029" y="1862"/>
                </a:lnTo>
                <a:lnTo>
                  <a:pt x="5697" y="1862"/>
                </a:lnTo>
                <a:lnTo>
                  <a:pt x="5697" y="1930"/>
                </a:lnTo>
                <a:lnTo>
                  <a:pt x="4029" y="1930"/>
                </a:lnTo>
                <a:lnTo>
                  <a:pt x="4008" y="1930"/>
                </a:lnTo>
                <a:lnTo>
                  <a:pt x="3990" y="1927"/>
                </a:lnTo>
                <a:lnTo>
                  <a:pt x="3973" y="1920"/>
                </a:lnTo>
                <a:lnTo>
                  <a:pt x="3959" y="1913"/>
                </a:lnTo>
                <a:lnTo>
                  <a:pt x="3947" y="1903"/>
                </a:lnTo>
                <a:lnTo>
                  <a:pt x="3937" y="1893"/>
                </a:lnTo>
                <a:lnTo>
                  <a:pt x="3929" y="1881"/>
                </a:lnTo>
                <a:lnTo>
                  <a:pt x="3922" y="1867"/>
                </a:lnTo>
                <a:lnTo>
                  <a:pt x="3919" y="1854"/>
                </a:lnTo>
                <a:lnTo>
                  <a:pt x="3915" y="1838"/>
                </a:lnTo>
                <a:lnTo>
                  <a:pt x="3914" y="1823"/>
                </a:lnTo>
                <a:lnTo>
                  <a:pt x="3914" y="1808"/>
                </a:lnTo>
                <a:lnTo>
                  <a:pt x="3915" y="1791"/>
                </a:lnTo>
                <a:lnTo>
                  <a:pt x="3917" y="1776"/>
                </a:lnTo>
                <a:lnTo>
                  <a:pt x="3922" y="1760"/>
                </a:lnTo>
                <a:lnTo>
                  <a:pt x="3927" y="1745"/>
                </a:lnTo>
                <a:lnTo>
                  <a:pt x="4249" y="922"/>
                </a:lnTo>
                <a:lnTo>
                  <a:pt x="4235" y="844"/>
                </a:lnTo>
                <a:lnTo>
                  <a:pt x="4225" y="766"/>
                </a:lnTo>
                <a:lnTo>
                  <a:pt x="4215" y="688"/>
                </a:lnTo>
                <a:lnTo>
                  <a:pt x="4207" y="610"/>
                </a:lnTo>
                <a:lnTo>
                  <a:pt x="4200" y="530"/>
                </a:lnTo>
                <a:lnTo>
                  <a:pt x="4193" y="452"/>
                </a:lnTo>
                <a:lnTo>
                  <a:pt x="4188" y="373"/>
                </a:lnTo>
                <a:lnTo>
                  <a:pt x="4183" y="293"/>
                </a:lnTo>
                <a:close/>
                <a:moveTo>
                  <a:pt x="2555" y="2696"/>
                </a:moveTo>
                <a:lnTo>
                  <a:pt x="2555" y="2696"/>
                </a:lnTo>
                <a:lnTo>
                  <a:pt x="2550" y="2775"/>
                </a:lnTo>
                <a:lnTo>
                  <a:pt x="2545" y="2855"/>
                </a:lnTo>
                <a:lnTo>
                  <a:pt x="2540" y="2933"/>
                </a:lnTo>
                <a:lnTo>
                  <a:pt x="2531" y="3013"/>
                </a:lnTo>
                <a:lnTo>
                  <a:pt x="2523" y="3091"/>
                </a:lnTo>
                <a:lnTo>
                  <a:pt x="2512" y="3169"/>
                </a:lnTo>
                <a:lnTo>
                  <a:pt x="2502" y="3246"/>
                </a:lnTo>
                <a:lnTo>
                  <a:pt x="2490" y="3324"/>
                </a:lnTo>
                <a:lnTo>
                  <a:pt x="2811" y="4148"/>
                </a:lnTo>
                <a:lnTo>
                  <a:pt x="2817" y="4163"/>
                </a:lnTo>
                <a:lnTo>
                  <a:pt x="2821" y="4178"/>
                </a:lnTo>
                <a:lnTo>
                  <a:pt x="2824" y="4194"/>
                </a:lnTo>
                <a:lnTo>
                  <a:pt x="2824" y="4211"/>
                </a:lnTo>
                <a:lnTo>
                  <a:pt x="2824" y="4226"/>
                </a:lnTo>
                <a:lnTo>
                  <a:pt x="2822" y="4241"/>
                </a:lnTo>
                <a:lnTo>
                  <a:pt x="2821" y="4256"/>
                </a:lnTo>
                <a:lnTo>
                  <a:pt x="2816" y="4270"/>
                </a:lnTo>
                <a:lnTo>
                  <a:pt x="2809" y="4283"/>
                </a:lnTo>
                <a:lnTo>
                  <a:pt x="2800" y="4295"/>
                </a:lnTo>
                <a:lnTo>
                  <a:pt x="2790" y="4305"/>
                </a:lnTo>
                <a:lnTo>
                  <a:pt x="2778" y="4316"/>
                </a:lnTo>
                <a:lnTo>
                  <a:pt x="2765" y="4322"/>
                </a:lnTo>
                <a:lnTo>
                  <a:pt x="2748" y="4329"/>
                </a:lnTo>
                <a:lnTo>
                  <a:pt x="2729" y="4333"/>
                </a:lnTo>
                <a:lnTo>
                  <a:pt x="2709" y="4333"/>
                </a:lnTo>
                <a:lnTo>
                  <a:pt x="1040" y="4333"/>
                </a:lnTo>
                <a:lnTo>
                  <a:pt x="1040" y="4265"/>
                </a:lnTo>
                <a:lnTo>
                  <a:pt x="2709" y="4265"/>
                </a:lnTo>
                <a:lnTo>
                  <a:pt x="2724" y="4265"/>
                </a:lnTo>
                <a:lnTo>
                  <a:pt x="2736" y="4260"/>
                </a:lnTo>
                <a:lnTo>
                  <a:pt x="2746" y="4253"/>
                </a:lnTo>
                <a:lnTo>
                  <a:pt x="2750" y="4248"/>
                </a:lnTo>
                <a:lnTo>
                  <a:pt x="2753" y="4243"/>
                </a:lnTo>
                <a:lnTo>
                  <a:pt x="2756" y="4236"/>
                </a:lnTo>
                <a:lnTo>
                  <a:pt x="2758" y="4229"/>
                </a:lnTo>
                <a:lnTo>
                  <a:pt x="2758" y="4214"/>
                </a:lnTo>
                <a:lnTo>
                  <a:pt x="2755" y="4195"/>
                </a:lnTo>
                <a:lnTo>
                  <a:pt x="2748" y="4172"/>
                </a:lnTo>
                <a:lnTo>
                  <a:pt x="2467" y="3451"/>
                </a:lnTo>
                <a:lnTo>
                  <a:pt x="2453" y="3523"/>
                </a:lnTo>
                <a:lnTo>
                  <a:pt x="2438" y="3594"/>
                </a:lnTo>
                <a:lnTo>
                  <a:pt x="2421" y="3665"/>
                </a:lnTo>
                <a:lnTo>
                  <a:pt x="2404" y="3736"/>
                </a:lnTo>
                <a:lnTo>
                  <a:pt x="2387" y="3807"/>
                </a:lnTo>
                <a:lnTo>
                  <a:pt x="2367" y="3877"/>
                </a:lnTo>
                <a:lnTo>
                  <a:pt x="2326" y="4017"/>
                </a:lnTo>
                <a:lnTo>
                  <a:pt x="2230" y="3999"/>
                </a:lnTo>
                <a:lnTo>
                  <a:pt x="2458" y="2677"/>
                </a:lnTo>
                <a:lnTo>
                  <a:pt x="2555" y="2696"/>
                </a:lnTo>
                <a:close/>
                <a:moveTo>
                  <a:pt x="4183" y="2696"/>
                </a:moveTo>
                <a:lnTo>
                  <a:pt x="4279" y="2677"/>
                </a:lnTo>
                <a:lnTo>
                  <a:pt x="4508" y="3999"/>
                </a:lnTo>
                <a:lnTo>
                  <a:pt x="4412" y="4017"/>
                </a:lnTo>
                <a:lnTo>
                  <a:pt x="4371" y="3877"/>
                </a:lnTo>
                <a:lnTo>
                  <a:pt x="4352" y="3807"/>
                </a:lnTo>
                <a:lnTo>
                  <a:pt x="4334" y="3736"/>
                </a:lnTo>
                <a:lnTo>
                  <a:pt x="4317" y="3665"/>
                </a:lnTo>
                <a:lnTo>
                  <a:pt x="4300" y="3594"/>
                </a:lnTo>
                <a:lnTo>
                  <a:pt x="4285" y="3523"/>
                </a:lnTo>
                <a:lnTo>
                  <a:pt x="4271" y="3451"/>
                </a:lnTo>
                <a:lnTo>
                  <a:pt x="3990" y="4172"/>
                </a:lnTo>
                <a:lnTo>
                  <a:pt x="3983" y="4195"/>
                </a:lnTo>
                <a:lnTo>
                  <a:pt x="3980" y="4214"/>
                </a:lnTo>
                <a:lnTo>
                  <a:pt x="3981" y="4229"/>
                </a:lnTo>
                <a:lnTo>
                  <a:pt x="3983" y="4236"/>
                </a:lnTo>
                <a:lnTo>
                  <a:pt x="3985" y="4243"/>
                </a:lnTo>
                <a:lnTo>
                  <a:pt x="3988" y="4248"/>
                </a:lnTo>
                <a:lnTo>
                  <a:pt x="3991" y="4253"/>
                </a:lnTo>
                <a:lnTo>
                  <a:pt x="4002" y="4260"/>
                </a:lnTo>
                <a:lnTo>
                  <a:pt x="4015" y="4265"/>
                </a:lnTo>
                <a:lnTo>
                  <a:pt x="4029" y="4265"/>
                </a:lnTo>
                <a:lnTo>
                  <a:pt x="5697" y="4265"/>
                </a:lnTo>
                <a:lnTo>
                  <a:pt x="5697" y="4333"/>
                </a:lnTo>
                <a:lnTo>
                  <a:pt x="4029" y="4333"/>
                </a:lnTo>
                <a:lnTo>
                  <a:pt x="4008" y="4333"/>
                </a:lnTo>
                <a:lnTo>
                  <a:pt x="3990" y="4329"/>
                </a:lnTo>
                <a:lnTo>
                  <a:pt x="3973" y="4322"/>
                </a:lnTo>
                <a:lnTo>
                  <a:pt x="3959" y="4316"/>
                </a:lnTo>
                <a:lnTo>
                  <a:pt x="3947" y="4305"/>
                </a:lnTo>
                <a:lnTo>
                  <a:pt x="3937" y="4295"/>
                </a:lnTo>
                <a:lnTo>
                  <a:pt x="3929" y="4283"/>
                </a:lnTo>
                <a:lnTo>
                  <a:pt x="3922" y="4270"/>
                </a:lnTo>
                <a:lnTo>
                  <a:pt x="3919" y="4256"/>
                </a:lnTo>
                <a:lnTo>
                  <a:pt x="3915" y="4241"/>
                </a:lnTo>
                <a:lnTo>
                  <a:pt x="3914" y="4226"/>
                </a:lnTo>
                <a:lnTo>
                  <a:pt x="3914" y="4211"/>
                </a:lnTo>
                <a:lnTo>
                  <a:pt x="3915" y="4194"/>
                </a:lnTo>
                <a:lnTo>
                  <a:pt x="3917" y="4178"/>
                </a:lnTo>
                <a:lnTo>
                  <a:pt x="3922" y="4163"/>
                </a:lnTo>
                <a:lnTo>
                  <a:pt x="3927" y="4148"/>
                </a:lnTo>
                <a:lnTo>
                  <a:pt x="4249" y="3324"/>
                </a:lnTo>
                <a:lnTo>
                  <a:pt x="4235" y="3246"/>
                </a:lnTo>
                <a:lnTo>
                  <a:pt x="4225" y="3169"/>
                </a:lnTo>
                <a:lnTo>
                  <a:pt x="4215" y="3091"/>
                </a:lnTo>
                <a:lnTo>
                  <a:pt x="4207" y="3013"/>
                </a:lnTo>
                <a:lnTo>
                  <a:pt x="4200" y="2933"/>
                </a:lnTo>
                <a:lnTo>
                  <a:pt x="4193" y="2855"/>
                </a:lnTo>
                <a:lnTo>
                  <a:pt x="4188" y="2775"/>
                </a:lnTo>
                <a:lnTo>
                  <a:pt x="4183" y="2696"/>
                </a:lnTo>
                <a:close/>
                <a:moveTo>
                  <a:pt x="1991" y="4109"/>
                </a:moveTo>
                <a:lnTo>
                  <a:pt x="1991" y="4109"/>
                </a:lnTo>
                <a:lnTo>
                  <a:pt x="1994" y="4109"/>
                </a:lnTo>
                <a:lnTo>
                  <a:pt x="1999" y="4109"/>
                </a:lnTo>
                <a:lnTo>
                  <a:pt x="2001" y="4107"/>
                </a:lnTo>
                <a:lnTo>
                  <a:pt x="2003" y="4106"/>
                </a:lnTo>
                <a:lnTo>
                  <a:pt x="2004" y="4102"/>
                </a:lnTo>
                <a:lnTo>
                  <a:pt x="2003" y="4100"/>
                </a:lnTo>
                <a:lnTo>
                  <a:pt x="2001" y="4097"/>
                </a:lnTo>
                <a:lnTo>
                  <a:pt x="1999" y="4095"/>
                </a:lnTo>
                <a:lnTo>
                  <a:pt x="1864" y="4004"/>
                </a:lnTo>
                <a:lnTo>
                  <a:pt x="1843" y="3994"/>
                </a:lnTo>
                <a:lnTo>
                  <a:pt x="1825" y="3985"/>
                </a:lnTo>
                <a:lnTo>
                  <a:pt x="1804" y="3980"/>
                </a:lnTo>
                <a:lnTo>
                  <a:pt x="1784" y="3980"/>
                </a:lnTo>
                <a:lnTo>
                  <a:pt x="1465" y="3982"/>
                </a:lnTo>
                <a:lnTo>
                  <a:pt x="1465" y="3914"/>
                </a:lnTo>
                <a:lnTo>
                  <a:pt x="1782" y="3914"/>
                </a:lnTo>
                <a:lnTo>
                  <a:pt x="1811" y="3916"/>
                </a:lnTo>
                <a:lnTo>
                  <a:pt x="1825" y="3916"/>
                </a:lnTo>
                <a:lnTo>
                  <a:pt x="1838" y="3919"/>
                </a:lnTo>
                <a:lnTo>
                  <a:pt x="1852" y="3923"/>
                </a:lnTo>
                <a:lnTo>
                  <a:pt x="1864" y="3928"/>
                </a:lnTo>
                <a:lnTo>
                  <a:pt x="1875" y="3933"/>
                </a:lnTo>
                <a:lnTo>
                  <a:pt x="1887" y="3941"/>
                </a:lnTo>
                <a:lnTo>
                  <a:pt x="2036" y="4061"/>
                </a:lnTo>
                <a:lnTo>
                  <a:pt x="2045" y="4070"/>
                </a:lnTo>
                <a:lnTo>
                  <a:pt x="2053" y="4078"/>
                </a:lnTo>
                <a:lnTo>
                  <a:pt x="2058" y="4089"/>
                </a:lnTo>
                <a:lnTo>
                  <a:pt x="2062" y="4099"/>
                </a:lnTo>
                <a:lnTo>
                  <a:pt x="2065" y="4107"/>
                </a:lnTo>
                <a:lnTo>
                  <a:pt x="2065" y="4117"/>
                </a:lnTo>
                <a:lnTo>
                  <a:pt x="2063" y="4126"/>
                </a:lnTo>
                <a:lnTo>
                  <a:pt x="2062" y="4134"/>
                </a:lnTo>
                <a:lnTo>
                  <a:pt x="2058" y="4143"/>
                </a:lnTo>
                <a:lnTo>
                  <a:pt x="2053" y="4150"/>
                </a:lnTo>
                <a:lnTo>
                  <a:pt x="2048" y="4155"/>
                </a:lnTo>
                <a:lnTo>
                  <a:pt x="2041" y="4160"/>
                </a:lnTo>
                <a:lnTo>
                  <a:pt x="2035" y="4163"/>
                </a:lnTo>
                <a:lnTo>
                  <a:pt x="2026" y="4165"/>
                </a:lnTo>
                <a:lnTo>
                  <a:pt x="2018" y="4165"/>
                </a:lnTo>
                <a:lnTo>
                  <a:pt x="2008" y="4163"/>
                </a:lnTo>
                <a:lnTo>
                  <a:pt x="1962" y="4153"/>
                </a:lnTo>
                <a:lnTo>
                  <a:pt x="1962" y="4194"/>
                </a:lnTo>
                <a:lnTo>
                  <a:pt x="1586" y="4194"/>
                </a:lnTo>
                <a:lnTo>
                  <a:pt x="1586" y="4175"/>
                </a:lnTo>
                <a:lnTo>
                  <a:pt x="1537" y="4187"/>
                </a:lnTo>
                <a:lnTo>
                  <a:pt x="1535" y="4117"/>
                </a:lnTo>
                <a:lnTo>
                  <a:pt x="1833" y="4050"/>
                </a:lnTo>
                <a:lnTo>
                  <a:pt x="1991" y="4109"/>
                </a:lnTo>
                <a:close/>
                <a:moveTo>
                  <a:pt x="4752" y="1699"/>
                </a:moveTo>
                <a:lnTo>
                  <a:pt x="4908" y="1642"/>
                </a:lnTo>
                <a:lnTo>
                  <a:pt x="5206" y="1710"/>
                </a:lnTo>
                <a:lnTo>
                  <a:pt x="5204" y="1779"/>
                </a:lnTo>
                <a:lnTo>
                  <a:pt x="5157" y="1767"/>
                </a:lnTo>
                <a:lnTo>
                  <a:pt x="5157" y="1786"/>
                </a:lnTo>
                <a:lnTo>
                  <a:pt x="4779" y="1786"/>
                </a:lnTo>
                <a:lnTo>
                  <a:pt x="4779" y="1744"/>
                </a:lnTo>
                <a:lnTo>
                  <a:pt x="4733" y="1755"/>
                </a:lnTo>
                <a:lnTo>
                  <a:pt x="4725" y="1757"/>
                </a:lnTo>
                <a:lnTo>
                  <a:pt x="4717" y="1757"/>
                </a:lnTo>
                <a:lnTo>
                  <a:pt x="4708" y="1754"/>
                </a:lnTo>
                <a:lnTo>
                  <a:pt x="4701" y="1750"/>
                </a:lnTo>
                <a:lnTo>
                  <a:pt x="4695" y="1747"/>
                </a:lnTo>
                <a:lnTo>
                  <a:pt x="4688" y="1740"/>
                </a:lnTo>
                <a:lnTo>
                  <a:pt x="4684" y="1733"/>
                </a:lnTo>
                <a:lnTo>
                  <a:pt x="4679" y="1727"/>
                </a:lnTo>
                <a:lnTo>
                  <a:pt x="4678" y="1718"/>
                </a:lnTo>
                <a:lnTo>
                  <a:pt x="4678" y="1710"/>
                </a:lnTo>
                <a:lnTo>
                  <a:pt x="4678" y="1699"/>
                </a:lnTo>
                <a:lnTo>
                  <a:pt x="4679" y="1691"/>
                </a:lnTo>
                <a:lnTo>
                  <a:pt x="4683" y="1681"/>
                </a:lnTo>
                <a:lnTo>
                  <a:pt x="4689" y="1671"/>
                </a:lnTo>
                <a:lnTo>
                  <a:pt x="4696" y="1662"/>
                </a:lnTo>
                <a:lnTo>
                  <a:pt x="4706" y="1652"/>
                </a:lnTo>
                <a:lnTo>
                  <a:pt x="4855" y="1533"/>
                </a:lnTo>
                <a:lnTo>
                  <a:pt x="4866" y="1525"/>
                </a:lnTo>
                <a:lnTo>
                  <a:pt x="4878" y="1520"/>
                </a:lnTo>
                <a:lnTo>
                  <a:pt x="4891" y="1515"/>
                </a:lnTo>
                <a:lnTo>
                  <a:pt x="4905" y="1511"/>
                </a:lnTo>
                <a:lnTo>
                  <a:pt x="4916" y="1508"/>
                </a:lnTo>
                <a:lnTo>
                  <a:pt x="4932" y="1506"/>
                </a:lnTo>
                <a:lnTo>
                  <a:pt x="4961" y="1506"/>
                </a:lnTo>
                <a:lnTo>
                  <a:pt x="5277" y="1506"/>
                </a:lnTo>
                <a:lnTo>
                  <a:pt x="5277" y="1574"/>
                </a:lnTo>
                <a:lnTo>
                  <a:pt x="4959" y="1571"/>
                </a:lnTo>
                <a:lnTo>
                  <a:pt x="4937" y="1572"/>
                </a:lnTo>
                <a:lnTo>
                  <a:pt x="4918" y="1577"/>
                </a:lnTo>
                <a:lnTo>
                  <a:pt x="4898" y="1584"/>
                </a:lnTo>
                <a:lnTo>
                  <a:pt x="4879" y="1596"/>
                </a:lnTo>
                <a:lnTo>
                  <a:pt x="4744" y="1686"/>
                </a:lnTo>
                <a:lnTo>
                  <a:pt x="4740" y="1689"/>
                </a:lnTo>
                <a:lnTo>
                  <a:pt x="4739" y="1691"/>
                </a:lnTo>
                <a:lnTo>
                  <a:pt x="4739" y="1694"/>
                </a:lnTo>
                <a:lnTo>
                  <a:pt x="4739" y="1698"/>
                </a:lnTo>
                <a:lnTo>
                  <a:pt x="4740" y="1699"/>
                </a:lnTo>
                <a:lnTo>
                  <a:pt x="4744" y="1701"/>
                </a:lnTo>
                <a:lnTo>
                  <a:pt x="4747" y="1701"/>
                </a:lnTo>
                <a:lnTo>
                  <a:pt x="4752" y="16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1" name="Freeform 21">
            <a:extLst>
              <a:ext uri="{FF2B5EF4-FFF2-40B4-BE49-F238E27FC236}">
                <a16:creationId xmlns:a16="http://schemas.microsoft.com/office/drawing/2014/main" id="{B66663C2-EF95-4F2D-AF6C-E358235B52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32109" y="5336313"/>
            <a:ext cx="676700" cy="456724"/>
          </a:xfrm>
          <a:custGeom>
            <a:avLst/>
            <a:gdLst>
              <a:gd name="T0" fmla="*/ 2147483647 w 6736"/>
              <a:gd name="T1" fmla="*/ 2147483647 h 4541"/>
              <a:gd name="T2" fmla="*/ 2147483647 w 6736"/>
              <a:gd name="T3" fmla="*/ 2147483647 h 4541"/>
              <a:gd name="T4" fmla="*/ 2147483647 w 6736"/>
              <a:gd name="T5" fmla="*/ 2147483647 h 4541"/>
              <a:gd name="T6" fmla="*/ 2147483647 w 6736"/>
              <a:gd name="T7" fmla="*/ 2147483647 h 4541"/>
              <a:gd name="T8" fmla="*/ 2147483647 w 6736"/>
              <a:gd name="T9" fmla="*/ 2147483647 h 4541"/>
              <a:gd name="T10" fmla="*/ 2147483647 w 6736"/>
              <a:gd name="T11" fmla="*/ 2147483647 h 4541"/>
              <a:gd name="T12" fmla="*/ 2147483647 w 6736"/>
              <a:gd name="T13" fmla="*/ 2147483647 h 4541"/>
              <a:gd name="T14" fmla="*/ 2147483647 w 6736"/>
              <a:gd name="T15" fmla="*/ 2147483647 h 4541"/>
              <a:gd name="T16" fmla="*/ 2147483647 w 6736"/>
              <a:gd name="T17" fmla="*/ 2147483647 h 4541"/>
              <a:gd name="T18" fmla="*/ 2147483647 w 6736"/>
              <a:gd name="T19" fmla="*/ 2147483647 h 4541"/>
              <a:gd name="T20" fmla="*/ 2147483647 w 6736"/>
              <a:gd name="T21" fmla="*/ 2147483647 h 4541"/>
              <a:gd name="T22" fmla="*/ 2147483647 w 6736"/>
              <a:gd name="T23" fmla="*/ 2147483647 h 4541"/>
              <a:gd name="T24" fmla="*/ 2147483647 w 6736"/>
              <a:gd name="T25" fmla="*/ 2147483647 h 4541"/>
              <a:gd name="T26" fmla="*/ 2147483647 w 6736"/>
              <a:gd name="T27" fmla="*/ 2147483647 h 4541"/>
              <a:gd name="T28" fmla="*/ 2147483647 w 6736"/>
              <a:gd name="T29" fmla="*/ 2147483647 h 4541"/>
              <a:gd name="T30" fmla="*/ 2147483647 w 6736"/>
              <a:gd name="T31" fmla="*/ 2147483647 h 4541"/>
              <a:gd name="T32" fmla="*/ 2147483647 w 6736"/>
              <a:gd name="T33" fmla="*/ 2147483647 h 4541"/>
              <a:gd name="T34" fmla="*/ 2147483647 w 6736"/>
              <a:gd name="T35" fmla="*/ 2147483647 h 4541"/>
              <a:gd name="T36" fmla="*/ 2147483647 w 6736"/>
              <a:gd name="T37" fmla="*/ 2147483647 h 4541"/>
              <a:gd name="T38" fmla="*/ 2147483647 w 6736"/>
              <a:gd name="T39" fmla="*/ 2147483647 h 4541"/>
              <a:gd name="T40" fmla="*/ 2147483647 w 6736"/>
              <a:gd name="T41" fmla="*/ 2147483647 h 4541"/>
              <a:gd name="T42" fmla="*/ 2147483647 w 6736"/>
              <a:gd name="T43" fmla="*/ 2147483647 h 4541"/>
              <a:gd name="T44" fmla="*/ 2147483647 w 6736"/>
              <a:gd name="T45" fmla="*/ 2147483647 h 4541"/>
              <a:gd name="T46" fmla="*/ 2147483647 w 6736"/>
              <a:gd name="T47" fmla="*/ 2147483647 h 4541"/>
              <a:gd name="T48" fmla="*/ 2147483647 w 6736"/>
              <a:gd name="T49" fmla="*/ 2147483647 h 4541"/>
              <a:gd name="T50" fmla="*/ 2147483647 w 6736"/>
              <a:gd name="T51" fmla="*/ 2147483647 h 4541"/>
              <a:gd name="T52" fmla="*/ 2147483647 w 6736"/>
              <a:gd name="T53" fmla="*/ 2147483647 h 4541"/>
              <a:gd name="T54" fmla="*/ 2147483647 w 6736"/>
              <a:gd name="T55" fmla="*/ 2147483647 h 4541"/>
              <a:gd name="T56" fmla="*/ 2147483647 w 6736"/>
              <a:gd name="T57" fmla="*/ 2147483647 h 4541"/>
              <a:gd name="T58" fmla="*/ 2147483647 w 6736"/>
              <a:gd name="T59" fmla="*/ 2147483647 h 4541"/>
              <a:gd name="T60" fmla="*/ 2147483647 w 6736"/>
              <a:gd name="T61" fmla="*/ 2147483647 h 4541"/>
              <a:gd name="T62" fmla="*/ 2147483647 w 6736"/>
              <a:gd name="T63" fmla="*/ 2147483647 h 4541"/>
              <a:gd name="T64" fmla="*/ 2147483647 w 6736"/>
              <a:gd name="T65" fmla="*/ 2147483647 h 4541"/>
              <a:gd name="T66" fmla="*/ 2147483647 w 6736"/>
              <a:gd name="T67" fmla="*/ 2147483647 h 4541"/>
              <a:gd name="T68" fmla="*/ 2147483647 w 6736"/>
              <a:gd name="T69" fmla="*/ 2147483647 h 4541"/>
              <a:gd name="T70" fmla="*/ 2147483647 w 6736"/>
              <a:gd name="T71" fmla="*/ 2147483647 h 4541"/>
              <a:gd name="T72" fmla="*/ 2147483647 w 6736"/>
              <a:gd name="T73" fmla="*/ 2147483647 h 4541"/>
              <a:gd name="T74" fmla="*/ 2147483647 w 6736"/>
              <a:gd name="T75" fmla="*/ 2147483647 h 4541"/>
              <a:gd name="T76" fmla="*/ 2147483647 w 6736"/>
              <a:gd name="T77" fmla="*/ 2147483647 h 4541"/>
              <a:gd name="T78" fmla="*/ 2147483647 w 6736"/>
              <a:gd name="T79" fmla="*/ 2147483647 h 4541"/>
              <a:gd name="T80" fmla="*/ 2147483647 w 6736"/>
              <a:gd name="T81" fmla="*/ 2147483647 h 4541"/>
              <a:gd name="T82" fmla="*/ 2147483647 w 6736"/>
              <a:gd name="T83" fmla="*/ 2147483647 h 4541"/>
              <a:gd name="T84" fmla="*/ 2147483647 w 6736"/>
              <a:gd name="T85" fmla="*/ 2147483647 h 4541"/>
              <a:gd name="T86" fmla="*/ 2147483647 w 6736"/>
              <a:gd name="T87" fmla="*/ 2147483647 h 4541"/>
              <a:gd name="T88" fmla="*/ 2147483647 w 6736"/>
              <a:gd name="T89" fmla="*/ 2147483647 h 4541"/>
              <a:gd name="T90" fmla="*/ 2147483647 w 6736"/>
              <a:gd name="T91" fmla="*/ 2147483647 h 4541"/>
              <a:gd name="T92" fmla="*/ 2147483647 w 6736"/>
              <a:gd name="T93" fmla="*/ 2147483647 h 4541"/>
              <a:gd name="T94" fmla="*/ 2147483647 w 6736"/>
              <a:gd name="T95" fmla="*/ 2147483647 h 4541"/>
              <a:gd name="T96" fmla="*/ 2147483647 w 6736"/>
              <a:gd name="T97" fmla="*/ 2147483647 h 4541"/>
              <a:gd name="T98" fmla="*/ 2147483647 w 6736"/>
              <a:gd name="T99" fmla="*/ 2147483647 h 4541"/>
              <a:gd name="T100" fmla="*/ 2147483647 w 6736"/>
              <a:gd name="T101" fmla="*/ 2147483647 h 4541"/>
              <a:gd name="T102" fmla="*/ 2147483647 w 6736"/>
              <a:gd name="T103" fmla="*/ 2147483647 h 4541"/>
              <a:gd name="T104" fmla="*/ 2147483647 w 6736"/>
              <a:gd name="T105" fmla="*/ 2147483647 h 4541"/>
              <a:gd name="T106" fmla="*/ 2147483647 w 6736"/>
              <a:gd name="T107" fmla="*/ 2147483647 h 4541"/>
              <a:gd name="T108" fmla="*/ 2147483647 w 6736"/>
              <a:gd name="T109" fmla="*/ 2147483647 h 4541"/>
              <a:gd name="T110" fmla="*/ 2147483647 w 6736"/>
              <a:gd name="T111" fmla="*/ 2147483647 h 4541"/>
              <a:gd name="T112" fmla="*/ 2147483647 w 6736"/>
              <a:gd name="T113" fmla="*/ 2147483647 h 4541"/>
              <a:gd name="T114" fmla="*/ 2147483647 w 6736"/>
              <a:gd name="T115" fmla="*/ 2147483647 h 4541"/>
              <a:gd name="T116" fmla="*/ 2147483647 w 6736"/>
              <a:gd name="T117" fmla="*/ 2147483647 h 4541"/>
              <a:gd name="T118" fmla="*/ 2147483647 w 6736"/>
              <a:gd name="T119" fmla="*/ 2147483647 h 4541"/>
              <a:gd name="T120" fmla="*/ 2147483647 w 6736"/>
              <a:gd name="T121" fmla="*/ 2147483647 h 4541"/>
              <a:gd name="T122" fmla="*/ 2147483647 w 6736"/>
              <a:gd name="T123" fmla="*/ 2147483647 h 4541"/>
              <a:gd name="T124" fmla="*/ 2147483647 w 6736"/>
              <a:gd name="T125" fmla="*/ 2147483647 h 45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36"/>
              <a:gd name="T190" fmla="*/ 0 h 4541"/>
              <a:gd name="T191" fmla="*/ 6736 w 6736"/>
              <a:gd name="T192" fmla="*/ 4541 h 45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36" h="4541">
                <a:moveTo>
                  <a:pt x="4752" y="4109"/>
                </a:moveTo>
                <a:lnTo>
                  <a:pt x="4908" y="4050"/>
                </a:lnTo>
                <a:lnTo>
                  <a:pt x="5206" y="4117"/>
                </a:lnTo>
                <a:lnTo>
                  <a:pt x="5204" y="4187"/>
                </a:lnTo>
                <a:lnTo>
                  <a:pt x="5157" y="4175"/>
                </a:lnTo>
                <a:lnTo>
                  <a:pt x="5157" y="4194"/>
                </a:lnTo>
                <a:lnTo>
                  <a:pt x="4779" y="4194"/>
                </a:lnTo>
                <a:lnTo>
                  <a:pt x="4779" y="4153"/>
                </a:lnTo>
                <a:lnTo>
                  <a:pt x="4733" y="4163"/>
                </a:lnTo>
                <a:lnTo>
                  <a:pt x="4725" y="4165"/>
                </a:lnTo>
                <a:lnTo>
                  <a:pt x="4717" y="4165"/>
                </a:lnTo>
                <a:lnTo>
                  <a:pt x="4708" y="4163"/>
                </a:lnTo>
                <a:lnTo>
                  <a:pt x="4701" y="4160"/>
                </a:lnTo>
                <a:lnTo>
                  <a:pt x="4695" y="4155"/>
                </a:lnTo>
                <a:lnTo>
                  <a:pt x="4688" y="4150"/>
                </a:lnTo>
                <a:lnTo>
                  <a:pt x="4684" y="4143"/>
                </a:lnTo>
                <a:lnTo>
                  <a:pt x="4679" y="4134"/>
                </a:lnTo>
                <a:lnTo>
                  <a:pt x="4678" y="4126"/>
                </a:lnTo>
                <a:lnTo>
                  <a:pt x="4678" y="4117"/>
                </a:lnTo>
                <a:lnTo>
                  <a:pt x="4678" y="4107"/>
                </a:lnTo>
                <a:lnTo>
                  <a:pt x="4679" y="4099"/>
                </a:lnTo>
                <a:lnTo>
                  <a:pt x="4683" y="4089"/>
                </a:lnTo>
                <a:lnTo>
                  <a:pt x="4689" y="4078"/>
                </a:lnTo>
                <a:lnTo>
                  <a:pt x="4696" y="4070"/>
                </a:lnTo>
                <a:lnTo>
                  <a:pt x="4706" y="4061"/>
                </a:lnTo>
                <a:lnTo>
                  <a:pt x="4855" y="3941"/>
                </a:lnTo>
                <a:lnTo>
                  <a:pt x="4866" y="3933"/>
                </a:lnTo>
                <a:lnTo>
                  <a:pt x="4878" y="3928"/>
                </a:lnTo>
                <a:lnTo>
                  <a:pt x="4891" y="3923"/>
                </a:lnTo>
                <a:lnTo>
                  <a:pt x="4905" y="3919"/>
                </a:lnTo>
                <a:lnTo>
                  <a:pt x="4916" y="3916"/>
                </a:lnTo>
                <a:lnTo>
                  <a:pt x="4932" y="3916"/>
                </a:lnTo>
                <a:lnTo>
                  <a:pt x="4961" y="3914"/>
                </a:lnTo>
                <a:lnTo>
                  <a:pt x="5277" y="3914"/>
                </a:lnTo>
                <a:lnTo>
                  <a:pt x="5277" y="3982"/>
                </a:lnTo>
                <a:lnTo>
                  <a:pt x="4959" y="3980"/>
                </a:lnTo>
                <a:lnTo>
                  <a:pt x="4937" y="3980"/>
                </a:lnTo>
                <a:lnTo>
                  <a:pt x="4918" y="3985"/>
                </a:lnTo>
                <a:lnTo>
                  <a:pt x="4898" y="3994"/>
                </a:lnTo>
                <a:lnTo>
                  <a:pt x="4879" y="4004"/>
                </a:lnTo>
                <a:lnTo>
                  <a:pt x="4744" y="4095"/>
                </a:lnTo>
                <a:lnTo>
                  <a:pt x="4740" y="4097"/>
                </a:lnTo>
                <a:lnTo>
                  <a:pt x="4739" y="4100"/>
                </a:lnTo>
                <a:lnTo>
                  <a:pt x="4739" y="4102"/>
                </a:lnTo>
                <a:lnTo>
                  <a:pt x="4739" y="4106"/>
                </a:lnTo>
                <a:lnTo>
                  <a:pt x="4740" y="4107"/>
                </a:lnTo>
                <a:lnTo>
                  <a:pt x="4744" y="4109"/>
                </a:lnTo>
                <a:lnTo>
                  <a:pt x="4747" y="4109"/>
                </a:lnTo>
                <a:lnTo>
                  <a:pt x="4752" y="4109"/>
                </a:lnTo>
                <a:close/>
                <a:moveTo>
                  <a:pt x="5967" y="4499"/>
                </a:moveTo>
                <a:lnTo>
                  <a:pt x="5918" y="4243"/>
                </a:lnTo>
                <a:lnTo>
                  <a:pt x="6255" y="3873"/>
                </a:lnTo>
                <a:lnTo>
                  <a:pt x="6204" y="3828"/>
                </a:lnTo>
                <a:lnTo>
                  <a:pt x="5880" y="4182"/>
                </a:lnTo>
                <a:lnTo>
                  <a:pt x="5320" y="4182"/>
                </a:lnTo>
                <a:lnTo>
                  <a:pt x="5320" y="3912"/>
                </a:lnTo>
                <a:lnTo>
                  <a:pt x="5653" y="3838"/>
                </a:lnTo>
                <a:lnTo>
                  <a:pt x="5796" y="3628"/>
                </a:lnTo>
                <a:lnTo>
                  <a:pt x="5772" y="3506"/>
                </a:lnTo>
                <a:lnTo>
                  <a:pt x="5770" y="3489"/>
                </a:lnTo>
                <a:lnTo>
                  <a:pt x="5769" y="3474"/>
                </a:lnTo>
                <a:lnTo>
                  <a:pt x="5770" y="3457"/>
                </a:lnTo>
                <a:lnTo>
                  <a:pt x="5772" y="3441"/>
                </a:lnTo>
                <a:lnTo>
                  <a:pt x="5777" y="3424"/>
                </a:lnTo>
                <a:lnTo>
                  <a:pt x="5782" y="3409"/>
                </a:lnTo>
                <a:lnTo>
                  <a:pt x="5789" y="3394"/>
                </a:lnTo>
                <a:lnTo>
                  <a:pt x="5796" y="3379"/>
                </a:lnTo>
                <a:lnTo>
                  <a:pt x="5813" y="3350"/>
                </a:lnTo>
                <a:lnTo>
                  <a:pt x="5831" y="3326"/>
                </a:lnTo>
                <a:lnTo>
                  <a:pt x="5853" y="3304"/>
                </a:lnTo>
                <a:lnTo>
                  <a:pt x="5864" y="3296"/>
                </a:lnTo>
                <a:lnTo>
                  <a:pt x="5874" y="3289"/>
                </a:lnTo>
                <a:lnTo>
                  <a:pt x="6057" y="3172"/>
                </a:lnTo>
                <a:lnTo>
                  <a:pt x="6096" y="3155"/>
                </a:lnTo>
                <a:lnTo>
                  <a:pt x="6114" y="3150"/>
                </a:lnTo>
                <a:lnTo>
                  <a:pt x="6131" y="3145"/>
                </a:lnTo>
                <a:lnTo>
                  <a:pt x="6148" y="3141"/>
                </a:lnTo>
                <a:lnTo>
                  <a:pt x="6165" y="3141"/>
                </a:lnTo>
                <a:lnTo>
                  <a:pt x="6180" y="3141"/>
                </a:lnTo>
                <a:lnTo>
                  <a:pt x="6194" y="3143"/>
                </a:lnTo>
                <a:lnTo>
                  <a:pt x="6207" y="3148"/>
                </a:lnTo>
                <a:lnTo>
                  <a:pt x="6221" y="3153"/>
                </a:lnTo>
                <a:lnTo>
                  <a:pt x="6233" y="3162"/>
                </a:lnTo>
                <a:lnTo>
                  <a:pt x="6243" y="3172"/>
                </a:lnTo>
                <a:lnTo>
                  <a:pt x="6253" y="3185"/>
                </a:lnTo>
                <a:lnTo>
                  <a:pt x="6263" y="3201"/>
                </a:lnTo>
                <a:lnTo>
                  <a:pt x="6272" y="3218"/>
                </a:lnTo>
                <a:lnTo>
                  <a:pt x="6279" y="3238"/>
                </a:lnTo>
                <a:lnTo>
                  <a:pt x="6736" y="4382"/>
                </a:lnTo>
                <a:lnTo>
                  <a:pt x="6706" y="4541"/>
                </a:lnTo>
                <a:lnTo>
                  <a:pt x="5967" y="4499"/>
                </a:lnTo>
                <a:close/>
                <a:moveTo>
                  <a:pt x="769" y="4499"/>
                </a:moveTo>
                <a:lnTo>
                  <a:pt x="30" y="4541"/>
                </a:lnTo>
                <a:lnTo>
                  <a:pt x="0" y="4382"/>
                </a:lnTo>
                <a:lnTo>
                  <a:pt x="457" y="3238"/>
                </a:lnTo>
                <a:lnTo>
                  <a:pt x="466" y="3218"/>
                </a:lnTo>
                <a:lnTo>
                  <a:pt x="474" y="3201"/>
                </a:lnTo>
                <a:lnTo>
                  <a:pt x="483" y="3185"/>
                </a:lnTo>
                <a:lnTo>
                  <a:pt x="493" y="3172"/>
                </a:lnTo>
                <a:lnTo>
                  <a:pt x="505" y="3162"/>
                </a:lnTo>
                <a:lnTo>
                  <a:pt x="517" y="3153"/>
                </a:lnTo>
                <a:lnTo>
                  <a:pt x="529" y="3148"/>
                </a:lnTo>
                <a:lnTo>
                  <a:pt x="542" y="3143"/>
                </a:lnTo>
                <a:lnTo>
                  <a:pt x="557" y="3141"/>
                </a:lnTo>
                <a:lnTo>
                  <a:pt x="573" y="3141"/>
                </a:lnTo>
                <a:lnTo>
                  <a:pt x="588" y="3141"/>
                </a:lnTo>
                <a:lnTo>
                  <a:pt x="605" y="3145"/>
                </a:lnTo>
                <a:lnTo>
                  <a:pt x="622" y="3150"/>
                </a:lnTo>
                <a:lnTo>
                  <a:pt x="640" y="3155"/>
                </a:lnTo>
                <a:lnTo>
                  <a:pt x="679" y="3172"/>
                </a:lnTo>
                <a:lnTo>
                  <a:pt x="862" y="3289"/>
                </a:lnTo>
                <a:lnTo>
                  <a:pt x="874" y="3296"/>
                </a:lnTo>
                <a:lnTo>
                  <a:pt x="884" y="3304"/>
                </a:lnTo>
                <a:lnTo>
                  <a:pt x="905" y="3326"/>
                </a:lnTo>
                <a:lnTo>
                  <a:pt x="925" y="3350"/>
                </a:lnTo>
                <a:lnTo>
                  <a:pt x="942" y="3379"/>
                </a:lnTo>
                <a:lnTo>
                  <a:pt x="949" y="3394"/>
                </a:lnTo>
                <a:lnTo>
                  <a:pt x="956" y="3409"/>
                </a:lnTo>
                <a:lnTo>
                  <a:pt x="961" y="3424"/>
                </a:lnTo>
                <a:lnTo>
                  <a:pt x="964" y="3441"/>
                </a:lnTo>
                <a:lnTo>
                  <a:pt x="967" y="3457"/>
                </a:lnTo>
                <a:lnTo>
                  <a:pt x="967" y="3474"/>
                </a:lnTo>
                <a:lnTo>
                  <a:pt x="967" y="3489"/>
                </a:lnTo>
                <a:lnTo>
                  <a:pt x="966" y="3506"/>
                </a:lnTo>
                <a:lnTo>
                  <a:pt x="942" y="3628"/>
                </a:lnTo>
                <a:lnTo>
                  <a:pt x="1084" y="3838"/>
                </a:lnTo>
                <a:lnTo>
                  <a:pt x="1416" y="3912"/>
                </a:lnTo>
                <a:lnTo>
                  <a:pt x="1416" y="4182"/>
                </a:lnTo>
                <a:lnTo>
                  <a:pt x="856" y="4182"/>
                </a:lnTo>
                <a:lnTo>
                  <a:pt x="532" y="3828"/>
                </a:lnTo>
                <a:lnTo>
                  <a:pt x="481" y="3873"/>
                </a:lnTo>
                <a:lnTo>
                  <a:pt x="820" y="4243"/>
                </a:lnTo>
                <a:lnTo>
                  <a:pt x="769" y="4499"/>
                </a:lnTo>
                <a:close/>
                <a:moveTo>
                  <a:pt x="5967" y="2096"/>
                </a:moveTo>
                <a:lnTo>
                  <a:pt x="5918" y="1840"/>
                </a:lnTo>
                <a:lnTo>
                  <a:pt x="6255" y="1471"/>
                </a:lnTo>
                <a:lnTo>
                  <a:pt x="6206" y="1425"/>
                </a:lnTo>
                <a:lnTo>
                  <a:pt x="5880" y="1779"/>
                </a:lnTo>
                <a:lnTo>
                  <a:pt x="5320" y="1779"/>
                </a:lnTo>
                <a:lnTo>
                  <a:pt x="5320" y="1510"/>
                </a:lnTo>
                <a:lnTo>
                  <a:pt x="5653" y="1433"/>
                </a:lnTo>
                <a:lnTo>
                  <a:pt x="5796" y="1225"/>
                </a:lnTo>
                <a:lnTo>
                  <a:pt x="5772" y="1101"/>
                </a:lnTo>
                <a:lnTo>
                  <a:pt x="5770" y="1086"/>
                </a:lnTo>
                <a:lnTo>
                  <a:pt x="5769" y="1071"/>
                </a:lnTo>
                <a:lnTo>
                  <a:pt x="5770" y="1054"/>
                </a:lnTo>
                <a:lnTo>
                  <a:pt x="5772" y="1037"/>
                </a:lnTo>
                <a:lnTo>
                  <a:pt x="5777" y="1022"/>
                </a:lnTo>
                <a:lnTo>
                  <a:pt x="5782" y="1006"/>
                </a:lnTo>
                <a:lnTo>
                  <a:pt x="5789" y="991"/>
                </a:lnTo>
                <a:lnTo>
                  <a:pt x="5796" y="976"/>
                </a:lnTo>
                <a:lnTo>
                  <a:pt x="5813" y="947"/>
                </a:lnTo>
                <a:lnTo>
                  <a:pt x="5831" y="922"/>
                </a:lnTo>
                <a:lnTo>
                  <a:pt x="5853" y="901"/>
                </a:lnTo>
                <a:lnTo>
                  <a:pt x="5864" y="893"/>
                </a:lnTo>
                <a:lnTo>
                  <a:pt x="5874" y="884"/>
                </a:lnTo>
                <a:lnTo>
                  <a:pt x="6057" y="769"/>
                </a:lnTo>
                <a:lnTo>
                  <a:pt x="6096" y="752"/>
                </a:lnTo>
                <a:lnTo>
                  <a:pt x="6114" y="747"/>
                </a:lnTo>
                <a:lnTo>
                  <a:pt x="6131" y="742"/>
                </a:lnTo>
                <a:lnTo>
                  <a:pt x="6148" y="739"/>
                </a:lnTo>
                <a:lnTo>
                  <a:pt x="6165" y="737"/>
                </a:lnTo>
                <a:lnTo>
                  <a:pt x="6180" y="739"/>
                </a:lnTo>
                <a:lnTo>
                  <a:pt x="6194" y="740"/>
                </a:lnTo>
                <a:lnTo>
                  <a:pt x="6207" y="744"/>
                </a:lnTo>
                <a:lnTo>
                  <a:pt x="6221" y="751"/>
                </a:lnTo>
                <a:lnTo>
                  <a:pt x="6233" y="759"/>
                </a:lnTo>
                <a:lnTo>
                  <a:pt x="6243" y="769"/>
                </a:lnTo>
                <a:lnTo>
                  <a:pt x="6253" y="783"/>
                </a:lnTo>
                <a:lnTo>
                  <a:pt x="6263" y="798"/>
                </a:lnTo>
                <a:lnTo>
                  <a:pt x="6272" y="815"/>
                </a:lnTo>
                <a:lnTo>
                  <a:pt x="6279" y="835"/>
                </a:lnTo>
                <a:lnTo>
                  <a:pt x="6736" y="1977"/>
                </a:lnTo>
                <a:lnTo>
                  <a:pt x="6706" y="2138"/>
                </a:lnTo>
                <a:lnTo>
                  <a:pt x="5967" y="2096"/>
                </a:lnTo>
                <a:close/>
                <a:moveTo>
                  <a:pt x="769" y="2096"/>
                </a:moveTo>
                <a:lnTo>
                  <a:pt x="30" y="2138"/>
                </a:lnTo>
                <a:lnTo>
                  <a:pt x="0" y="1977"/>
                </a:lnTo>
                <a:lnTo>
                  <a:pt x="457" y="835"/>
                </a:lnTo>
                <a:lnTo>
                  <a:pt x="464" y="815"/>
                </a:lnTo>
                <a:lnTo>
                  <a:pt x="474" y="798"/>
                </a:lnTo>
                <a:lnTo>
                  <a:pt x="483" y="783"/>
                </a:lnTo>
                <a:lnTo>
                  <a:pt x="493" y="769"/>
                </a:lnTo>
                <a:lnTo>
                  <a:pt x="505" y="759"/>
                </a:lnTo>
                <a:lnTo>
                  <a:pt x="517" y="751"/>
                </a:lnTo>
                <a:lnTo>
                  <a:pt x="529" y="744"/>
                </a:lnTo>
                <a:lnTo>
                  <a:pt x="542" y="740"/>
                </a:lnTo>
                <a:lnTo>
                  <a:pt x="557" y="739"/>
                </a:lnTo>
                <a:lnTo>
                  <a:pt x="573" y="737"/>
                </a:lnTo>
                <a:lnTo>
                  <a:pt x="588" y="739"/>
                </a:lnTo>
                <a:lnTo>
                  <a:pt x="605" y="742"/>
                </a:lnTo>
                <a:lnTo>
                  <a:pt x="622" y="747"/>
                </a:lnTo>
                <a:lnTo>
                  <a:pt x="640" y="752"/>
                </a:lnTo>
                <a:lnTo>
                  <a:pt x="679" y="769"/>
                </a:lnTo>
                <a:lnTo>
                  <a:pt x="862" y="884"/>
                </a:lnTo>
                <a:lnTo>
                  <a:pt x="874" y="893"/>
                </a:lnTo>
                <a:lnTo>
                  <a:pt x="884" y="901"/>
                </a:lnTo>
                <a:lnTo>
                  <a:pt x="905" y="922"/>
                </a:lnTo>
                <a:lnTo>
                  <a:pt x="925" y="947"/>
                </a:lnTo>
                <a:lnTo>
                  <a:pt x="942" y="976"/>
                </a:lnTo>
                <a:lnTo>
                  <a:pt x="949" y="991"/>
                </a:lnTo>
                <a:lnTo>
                  <a:pt x="956" y="1006"/>
                </a:lnTo>
                <a:lnTo>
                  <a:pt x="961" y="1022"/>
                </a:lnTo>
                <a:lnTo>
                  <a:pt x="964" y="1039"/>
                </a:lnTo>
                <a:lnTo>
                  <a:pt x="967" y="1054"/>
                </a:lnTo>
                <a:lnTo>
                  <a:pt x="967" y="1071"/>
                </a:lnTo>
                <a:lnTo>
                  <a:pt x="967" y="1086"/>
                </a:lnTo>
                <a:lnTo>
                  <a:pt x="966" y="1101"/>
                </a:lnTo>
                <a:lnTo>
                  <a:pt x="940" y="1225"/>
                </a:lnTo>
                <a:lnTo>
                  <a:pt x="1084" y="1433"/>
                </a:lnTo>
                <a:lnTo>
                  <a:pt x="1416" y="1510"/>
                </a:lnTo>
                <a:lnTo>
                  <a:pt x="1416" y="1779"/>
                </a:lnTo>
                <a:lnTo>
                  <a:pt x="856" y="1779"/>
                </a:lnTo>
                <a:lnTo>
                  <a:pt x="532" y="1425"/>
                </a:lnTo>
                <a:lnTo>
                  <a:pt x="481" y="1471"/>
                </a:lnTo>
                <a:lnTo>
                  <a:pt x="820" y="1840"/>
                </a:lnTo>
                <a:lnTo>
                  <a:pt x="769" y="2096"/>
                </a:lnTo>
                <a:close/>
                <a:moveTo>
                  <a:pt x="2555" y="293"/>
                </a:moveTo>
                <a:lnTo>
                  <a:pt x="2555" y="293"/>
                </a:lnTo>
                <a:lnTo>
                  <a:pt x="2550" y="373"/>
                </a:lnTo>
                <a:lnTo>
                  <a:pt x="2545" y="452"/>
                </a:lnTo>
                <a:lnTo>
                  <a:pt x="2540" y="530"/>
                </a:lnTo>
                <a:lnTo>
                  <a:pt x="2531" y="610"/>
                </a:lnTo>
                <a:lnTo>
                  <a:pt x="2523" y="688"/>
                </a:lnTo>
                <a:lnTo>
                  <a:pt x="2512" y="766"/>
                </a:lnTo>
                <a:lnTo>
                  <a:pt x="2502" y="844"/>
                </a:lnTo>
                <a:lnTo>
                  <a:pt x="2490" y="922"/>
                </a:lnTo>
                <a:lnTo>
                  <a:pt x="2811" y="1745"/>
                </a:lnTo>
                <a:lnTo>
                  <a:pt x="2817" y="1760"/>
                </a:lnTo>
                <a:lnTo>
                  <a:pt x="2821" y="1776"/>
                </a:lnTo>
                <a:lnTo>
                  <a:pt x="2824" y="1791"/>
                </a:lnTo>
                <a:lnTo>
                  <a:pt x="2824" y="1808"/>
                </a:lnTo>
                <a:lnTo>
                  <a:pt x="2824" y="1823"/>
                </a:lnTo>
                <a:lnTo>
                  <a:pt x="2822" y="1838"/>
                </a:lnTo>
                <a:lnTo>
                  <a:pt x="2821" y="1854"/>
                </a:lnTo>
                <a:lnTo>
                  <a:pt x="2816" y="1867"/>
                </a:lnTo>
                <a:lnTo>
                  <a:pt x="2809" y="1881"/>
                </a:lnTo>
                <a:lnTo>
                  <a:pt x="2800" y="1893"/>
                </a:lnTo>
                <a:lnTo>
                  <a:pt x="2790" y="1903"/>
                </a:lnTo>
                <a:lnTo>
                  <a:pt x="2778" y="1913"/>
                </a:lnTo>
                <a:lnTo>
                  <a:pt x="2765" y="1920"/>
                </a:lnTo>
                <a:lnTo>
                  <a:pt x="2748" y="1927"/>
                </a:lnTo>
                <a:lnTo>
                  <a:pt x="2729" y="1930"/>
                </a:lnTo>
                <a:lnTo>
                  <a:pt x="2709" y="1930"/>
                </a:lnTo>
                <a:lnTo>
                  <a:pt x="1040" y="1930"/>
                </a:lnTo>
                <a:lnTo>
                  <a:pt x="1040" y="1862"/>
                </a:lnTo>
                <a:lnTo>
                  <a:pt x="2709" y="1862"/>
                </a:lnTo>
                <a:lnTo>
                  <a:pt x="2724" y="1862"/>
                </a:lnTo>
                <a:lnTo>
                  <a:pt x="2736" y="1857"/>
                </a:lnTo>
                <a:lnTo>
                  <a:pt x="2746" y="1850"/>
                </a:lnTo>
                <a:lnTo>
                  <a:pt x="2750" y="1845"/>
                </a:lnTo>
                <a:lnTo>
                  <a:pt x="2753" y="1840"/>
                </a:lnTo>
                <a:lnTo>
                  <a:pt x="2756" y="1833"/>
                </a:lnTo>
                <a:lnTo>
                  <a:pt x="2758" y="1827"/>
                </a:lnTo>
                <a:lnTo>
                  <a:pt x="2758" y="1811"/>
                </a:lnTo>
                <a:lnTo>
                  <a:pt x="2755" y="1793"/>
                </a:lnTo>
                <a:lnTo>
                  <a:pt x="2748" y="1769"/>
                </a:lnTo>
                <a:lnTo>
                  <a:pt x="2467" y="1049"/>
                </a:lnTo>
                <a:lnTo>
                  <a:pt x="2453" y="1120"/>
                </a:lnTo>
                <a:lnTo>
                  <a:pt x="2438" y="1191"/>
                </a:lnTo>
                <a:lnTo>
                  <a:pt x="2421" y="1262"/>
                </a:lnTo>
                <a:lnTo>
                  <a:pt x="2404" y="1333"/>
                </a:lnTo>
                <a:lnTo>
                  <a:pt x="2387" y="1405"/>
                </a:lnTo>
                <a:lnTo>
                  <a:pt x="2367" y="1474"/>
                </a:lnTo>
                <a:lnTo>
                  <a:pt x="2326" y="1615"/>
                </a:lnTo>
                <a:lnTo>
                  <a:pt x="2230" y="1596"/>
                </a:lnTo>
                <a:lnTo>
                  <a:pt x="2458" y="274"/>
                </a:lnTo>
                <a:lnTo>
                  <a:pt x="2555" y="293"/>
                </a:lnTo>
                <a:close/>
                <a:moveTo>
                  <a:pt x="1062" y="178"/>
                </a:moveTo>
                <a:lnTo>
                  <a:pt x="1062" y="178"/>
                </a:lnTo>
                <a:lnTo>
                  <a:pt x="1076" y="210"/>
                </a:lnTo>
                <a:lnTo>
                  <a:pt x="1086" y="242"/>
                </a:lnTo>
                <a:lnTo>
                  <a:pt x="1089" y="261"/>
                </a:lnTo>
                <a:lnTo>
                  <a:pt x="1091" y="278"/>
                </a:lnTo>
                <a:lnTo>
                  <a:pt x="1093" y="297"/>
                </a:lnTo>
                <a:lnTo>
                  <a:pt x="1093" y="313"/>
                </a:lnTo>
                <a:lnTo>
                  <a:pt x="1093" y="391"/>
                </a:lnTo>
                <a:lnTo>
                  <a:pt x="1093" y="420"/>
                </a:lnTo>
                <a:lnTo>
                  <a:pt x="1088" y="449"/>
                </a:lnTo>
                <a:lnTo>
                  <a:pt x="1081" y="476"/>
                </a:lnTo>
                <a:lnTo>
                  <a:pt x="1072" y="503"/>
                </a:lnTo>
                <a:lnTo>
                  <a:pt x="1062" y="529"/>
                </a:lnTo>
                <a:lnTo>
                  <a:pt x="1049" y="552"/>
                </a:lnTo>
                <a:lnTo>
                  <a:pt x="1033" y="574"/>
                </a:lnTo>
                <a:lnTo>
                  <a:pt x="1016" y="595"/>
                </a:lnTo>
                <a:lnTo>
                  <a:pt x="998" y="613"/>
                </a:lnTo>
                <a:lnTo>
                  <a:pt x="978" y="630"/>
                </a:lnTo>
                <a:lnTo>
                  <a:pt x="957" y="646"/>
                </a:lnTo>
                <a:lnTo>
                  <a:pt x="933" y="657"/>
                </a:lnTo>
                <a:lnTo>
                  <a:pt x="910" y="668"/>
                </a:lnTo>
                <a:lnTo>
                  <a:pt x="883" y="674"/>
                </a:lnTo>
                <a:lnTo>
                  <a:pt x="857" y="679"/>
                </a:lnTo>
                <a:lnTo>
                  <a:pt x="830" y="681"/>
                </a:lnTo>
                <a:lnTo>
                  <a:pt x="803" y="679"/>
                </a:lnTo>
                <a:lnTo>
                  <a:pt x="778" y="676"/>
                </a:lnTo>
                <a:lnTo>
                  <a:pt x="754" y="669"/>
                </a:lnTo>
                <a:lnTo>
                  <a:pt x="730" y="661"/>
                </a:lnTo>
                <a:lnTo>
                  <a:pt x="708" y="649"/>
                </a:lnTo>
                <a:lnTo>
                  <a:pt x="688" y="635"/>
                </a:lnTo>
                <a:lnTo>
                  <a:pt x="669" y="620"/>
                </a:lnTo>
                <a:lnTo>
                  <a:pt x="651" y="603"/>
                </a:lnTo>
                <a:lnTo>
                  <a:pt x="634" y="585"/>
                </a:lnTo>
                <a:lnTo>
                  <a:pt x="618" y="566"/>
                </a:lnTo>
                <a:lnTo>
                  <a:pt x="605" y="544"/>
                </a:lnTo>
                <a:lnTo>
                  <a:pt x="593" y="520"/>
                </a:lnTo>
                <a:lnTo>
                  <a:pt x="583" y="496"/>
                </a:lnTo>
                <a:lnTo>
                  <a:pt x="576" y="471"/>
                </a:lnTo>
                <a:lnTo>
                  <a:pt x="571" y="446"/>
                </a:lnTo>
                <a:lnTo>
                  <a:pt x="566" y="419"/>
                </a:lnTo>
                <a:lnTo>
                  <a:pt x="537" y="268"/>
                </a:lnTo>
                <a:lnTo>
                  <a:pt x="535" y="254"/>
                </a:lnTo>
                <a:lnTo>
                  <a:pt x="534" y="239"/>
                </a:lnTo>
                <a:lnTo>
                  <a:pt x="534" y="213"/>
                </a:lnTo>
                <a:lnTo>
                  <a:pt x="539" y="188"/>
                </a:lnTo>
                <a:lnTo>
                  <a:pt x="546" y="164"/>
                </a:lnTo>
                <a:lnTo>
                  <a:pt x="557" y="142"/>
                </a:lnTo>
                <a:lnTo>
                  <a:pt x="569" y="122"/>
                </a:lnTo>
                <a:lnTo>
                  <a:pt x="584" y="103"/>
                </a:lnTo>
                <a:lnTo>
                  <a:pt x="601" y="86"/>
                </a:lnTo>
                <a:lnTo>
                  <a:pt x="620" y="71"/>
                </a:lnTo>
                <a:lnTo>
                  <a:pt x="639" y="58"/>
                </a:lnTo>
                <a:lnTo>
                  <a:pt x="657" y="47"/>
                </a:lnTo>
                <a:lnTo>
                  <a:pt x="676" y="39"/>
                </a:lnTo>
                <a:lnTo>
                  <a:pt x="695" y="32"/>
                </a:lnTo>
                <a:lnTo>
                  <a:pt x="712" y="27"/>
                </a:lnTo>
                <a:lnTo>
                  <a:pt x="728" y="25"/>
                </a:lnTo>
                <a:lnTo>
                  <a:pt x="742" y="25"/>
                </a:lnTo>
                <a:lnTo>
                  <a:pt x="759" y="19"/>
                </a:lnTo>
                <a:lnTo>
                  <a:pt x="776" y="14"/>
                </a:lnTo>
                <a:lnTo>
                  <a:pt x="793" y="8"/>
                </a:lnTo>
                <a:lnTo>
                  <a:pt x="808" y="5"/>
                </a:lnTo>
                <a:lnTo>
                  <a:pt x="839" y="0"/>
                </a:lnTo>
                <a:lnTo>
                  <a:pt x="869" y="0"/>
                </a:lnTo>
                <a:lnTo>
                  <a:pt x="896" y="3"/>
                </a:lnTo>
                <a:lnTo>
                  <a:pt x="923" y="10"/>
                </a:lnTo>
                <a:lnTo>
                  <a:pt x="949" y="19"/>
                </a:lnTo>
                <a:lnTo>
                  <a:pt x="972" y="29"/>
                </a:lnTo>
                <a:lnTo>
                  <a:pt x="994" y="41"/>
                </a:lnTo>
                <a:lnTo>
                  <a:pt x="1015" y="54"/>
                </a:lnTo>
                <a:lnTo>
                  <a:pt x="1033" y="68"/>
                </a:lnTo>
                <a:lnTo>
                  <a:pt x="1050" y="81"/>
                </a:lnTo>
                <a:lnTo>
                  <a:pt x="1077" y="105"/>
                </a:lnTo>
                <a:lnTo>
                  <a:pt x="1098" y="122"/>
                </a:lnTo>
                <a:lnTo>
                  <a:pt x="1062" y="178"/>
                </a:lnTo>
                <a:close/>
                <a:moveTo>
                  <a:pt x="635" y="419"/>
                </a:moveTo>
                <a:lnTo>
                  <a:pt x="635" y="419"/>
                </a:lnTo>
                <a:lnTo>
                  <a:pt x="639" y="441"/>
                </a:lnTo>
                <a:lnTo>
                  <a:pt x="642" y="459"/>
                </a:lnTo>
                <a:lnTo>
                  <a:pt x="649" y="478"/>
                </a:lnTo>
                <a:lnTo>
                  <a:pt x="657" y="496"/>
                </a:lnTo>
                <a:lnTo>
                  <a:pt x="666" y="513"/>
                </a:lnTo>
                <a:lnTo>
                  <a:pt x="676" y="530"/>
                </a:lnTo>
                <a:lnTo>
                  <a:pt x="688" y="544"/>
                </a:lnTo>
                <a:lnTo>
                  <a:pt x="700" y="557"/>
                </a:lnTo>
                <a:lnTo>
                  <a:pt x="713" y="569"/>
                </a:lnTo>
                <a:lnTo>
                  <a:pt x="728" y="581"/>
                </a:lnTo>
                <a:lnTo>
                  <a:pt x="744" y="590"/>
                </a:lnTo>
                <a:lnTo>
                  <a:pt x="759" y="598"/>
                </a:lnTo>
                <a:lnTo>
                  <a:pt x="776" y="605"/>
                </a:lnTo>
                <a:lnTo>
                  <a:pt x="793" y="608"/>
                </a:lnTo>
                <a:lnTo>
                  <a:pt x="812" y="612"/>
                </a:lnTo>
                <a:lnTo>
                  <a:pt x="830" y="613"/>
                </a:lnTo>
                <a:lnTo>
                  <a:pt x="849" y="612"/>
                </a:lnTo>
                <a:lnTo>
                  <a:pt x="867" y="608"/>
                </a:lnTo>
                <a:lnTo>
                  <a:pt x="886" y="603"/>
                </a:lnTo>
                <a:lnTo>
                  <a:pt x="905" y="596"/>
                </a:lnTo>
                <a:lnTo>
                  <a:pt x="922" y="586"/>
                </a:lnTo>
                <a:lnTo>
                  <a:pt x="937" y="576"/>
                </a:lnTo>
                <a:lnTo>
                  <a:pt x="952" y="564"/>
                </a:lnTo>
                <a:lnTo>
                  <a:pt x="967" y="549"/>
                </a:lnTo>
                <a:lnTo>
                  <a:pt x="979" y="534"/>
                </a:lnTo>
                <a:lnTo>
                  <a:pt x="991" y="517"/>
                </a:lnTo>
                <a:lnTo>
                  <a:pt x="1001" y="498"/>
                </a:lnTo>
                <a:lnTo>
                  <a:pt x="1010" y="480"/>
                </a:lnTo>
                <a:lnTo>
                  <a:pt x="1016" y="459"/>
                </a:lnTo>
                <a:lnTo>
                  <a:pt x="1022" y="437"/>
                </a:lnTo>
                <a:lnTo>
                  <a:pt x="1025" y="415"/>
                </a:lnTo>
                <a:lnTo>
                  <a:pt x="1025" y="391"/>
                </a:lnTo>
                <a:lnTo>
                  <a:pt x="1025" y="313"/>
                </a:lnTo>
                <a:lnTo>
                  <a:pt x="1025" y="288"/>
                </a:lnTo>
                <a:lnTo>
                  <a:pt x="1020" y="263"/>
                </a:lnTo>
                <a:lnTo>
                  <a:pt x="1006" y="280"/>
                </a:lnTo>
                <a:lnTo>
                  <a:pt x="989" y="293"/>
                </a:lnTo>
                <a:lnTo>
                  <a:pt x="972" y="305"/>
                </a:lnTo>
                <a:lnTo>
                  <a:pt x="950" y="315"/>
                </a:lnTo>
                <a:lnTo>
                  <a:pt x="927" y="324"/>
                </a:lnTo>
                <a:lnTo>
                  <a:pt x="901" y="330"/>
                </a:lnTo>
                <a:lnTo>
                  <a:pt x="871" y="337"/>
                </a:lnTo>
                <a:lnTo>
                  <a:pt x="837" y="342"/>
                </a:lnTo>
                <a:lnTo>
                  <a:pt x="825" y="396"/>
                </a:lnTo>
                <a:lnTo>
                  <a:pt x="764" y="400"/>
                </a:lnTo>
                <a:lnTo>
                  <a:pt x="764" y="364"/>
                </a:lnTo>
                <a:lnTo>
                  <a:pt x="762" y="349"/>
                </a:lnTo>
                <a:lnTo>
                  <a:pt x="759" y="335"/>
                </a:lnTo>
                <a:lnTo>
                  <a:pt x="752" y="324"/>
                </a:lnTo>
                <a:lnTo>
                  <a:pt x="745" y="313"/>
                </a:lnTo>
                <a:lnTo>
                  <a:pt x="735" y="305"/>
                </a:lnTo>
                <a:lnTo>
                  <a:pt x="725" y="298"/>
                </a:lnTo>
                <a:lnTo>
                  <a:pt x="712" y="293"/>
                </a:lnTo>
                <a:lnTo>
                  <a:pt x="700" y="291"/>
                </a:lnTo>
                <a:lnTo>
                  <a:pt x="686" y="293"/>
                </a:lnTo>
                <a:lnTo>
                  <a:pt x="674" y="298"/>
                </a:lnTo>
                <a:lnTo>
                  <a:pt x="662" y="305"/>
                </a:lnTo>
                <a:lnTo>
                  <a:pt x="654" y="313"/>
                </a:lnTo>
                <a:lnTo>
                  <a:pt x="645" y="324"/>
                </a:lnTo>
                <a:lnTo>
                  <a:pt x="640" y="335"/>
                </a:lnTo>
                <a:lnTo>
                  <a:pt x="635" y="349"/>
                </a:lnTo>
                <a:lnTo>
                  <a:pt x="635" y="364"/>
                </a:lnTo>
                <a:lnTo>
                  <a:pt x="635" y="413"/>
                </a:lnTo>
                <a:lnTo>
                  <a:pt x="635" y="419"/>
                </a:lnTo>
                <a:close/>
                <a:moveTo>
                  <a:pt x="1991" y="1699"/>
                </a:moveTo>
                <a:lnTo>
                  <a:pt x="1991" y="1699"/>
                </a:lnTo>
                <a:lnTo>
                  <a:pt x="1994" y="1701"/>
                </a:lnTo>
                <a:lnTo>
                  <a:pt x="1999" y="1701"/>
                </a:lnTo>
                <a:lnTo>
                  <a:pt x="2001" y="1699"/>
                </a:lnTo>
                <a:lnTo>
                  <a:pt x="2003" y="1698"/>
                </a:lnTo>
                <a:lnTo>
                  <a:pt x="2004" y="1694"/>
                </a:lnTo>
                <a:lnTo>
                  <a:pt x="2003" y="1691"/>
                </a:lnTo>
                <a:lnTo>
                  <a:pt x="2001" y="1689"/>
                </a:lnTo>
                <a:lnTo>
                  <a:pt x="1999" y="1686"/>
                </a:lnTo>
                <a:lnTo>
                  <a:pt x="1864" y="1596"/>
                </a:lnTo>
                <a:lnTo>
                  <a:pt x="1843" y="1584"/>
                </a:lnTo>
                <a:lnTo>
                  <a:pt x="1825" y="1577"/>
                </a:lnTo>
                <a:lnTo>
                  <a:pt x="1804" y="1572"/>
                </a:lnTo>
                <a:lnTo>
                  <a:pt x="1784" y="1571"/>
                </a:lnTo>
                <a:lnTo>
                  <a:pt x="1465" y="1574"/>
                </a:lnTo>
                <a:lnTo>
                  <a:pt x="1465" y="1506"/>
                </a:lnTo>
                <a:lnTo>
                  <a:pt x="1782" y="1506"/>
                </a:lnTo>
                <a:lnTo>
                  <a:pt x="1811" y="1506"/>
                </a:lnTo>
                <a:lnTo>
                  <a:pt x="1825" y="1508"/>
                </a:lnTo>
                <a:lnTo>
                  <a:pt x="1838" y="1511"/>
                </a:lnTo>
                <a:lnTo>
                  <a:pt x="1852" y="1515"/>
                </a:lnTo>
                <a:lnTo>
                  <a:pt x="1864" y="1520"/>
                </a:lnTo>
                <a:lnTo>
                  <a:pt x="1875" y="1525"/>
                </a:lnTo>
                <a:lnTo>
                  <a:pt x="1887" y="1533"/>
                </a:lnTo>
                <a:lnTo>
                  <a:pt x="2036" y="1652"/>
                </a:lnTo>
                <a:lnTo>
                  <a:pt x="2045" y="1662"/>
                </a:lnTo>
                <a:lnTo>
                  <a:pt x="2053" y="1671"/>
                </a:lnTo>
                <a:lnTo>
                  <a:pt x="2058" y="1681"/>
                </a:lnTo>
                <a:lnTo>
                  <a:pt x="2062" y="1691"/>
                </a:lnTo>
                <a:lnTo>
                  <a:pt x="2065" y="1699"/>
                </a:lnTo>
                <a:lnTo>
                  <a:pt x="2065" y="1710"/>
                </a:lnTo>
                <a:lnTo>
                  <a:pt x="2063" y="1718"/>
                </a:lnTo>
                <a:lnTo>
                  <a:pt x="2062" y="1727"/>
                </a:lnTo>
                <a:lnTo>
                  <a:pt x="2058" y="1733"/>
                </a:lnTo>
                <a:lnTo>
                  <a:pt x="2053" y="1740"/>
                </a:lnTo>
                <a:lnTo>
                  <a:pt x="2048" y="1747"/>
                </a:lnTo>
                <a:lnTo>
                  <a:pt x="2041" y="1750"/>
                </a:lnTo>
                <a:lnTo>
                  <a:pt x="2035" y="1754"/>
                </a:lnTo>
                <a:lnTo>
                  <a:pt x="2026" y="1757"/>
                </a:lnTo>
                <a:lnTo>
                  <a:pt x="2018" y="1757"/>
                </a:lnTo>
                <a:lnTo>
                  <a:pt x="2008" y="1755"/>
                </a:lnTo>
                <a:lnTo>
                  <a:pt x="1962" y="1744"/>
                </a:lnTo>
                <a:lnTo>
                  <a:pt x="1962" y="1786"/>
                </a:lnTo>
                <a:lnTo>
                  <a:pt x="1586" y="1786"/>
                </a:lnTo>
                <a:lnTo>
                  <a:pt x="1586" y="1767"/>
                </a:lnTo>
                <a:lnTo>
                  <a:pt x="1537" y="1779"/>
                </a:lnTo>
                <a:lnTo>
                  <a:pt x="1535" y="1710"/>
                </a:lnTo>
                <a:lnTo>
                  <a:pt x="1833" y="1642"/>
                </a:lnTo>
                <a:lnTo>
                  <a:pt x="1991" y="1699"/>
                </a:lnTo>
                <a:close/>
                <a:moveTo>
                  <a:pt x="1062" y="2581"/>
                </a:moveTo>
                <a:lnTo>
                  <a:pt x="1062" y="2581"/>
                </a:lnTo>
                <a:lnTo>
                  <a:pt x="1076" y="2613"/>
                </a:lnTo>
                <a:lnTo>
                  <a:pt x="1086" y="2647"/>
                </a:lnTo>
                <a:lnTo>
                  <a:pt x="1089" y="2664"/>
                </a:lnTo>
                <a:lnTo>
                  <a:pt x="1091" y="2681"/>
                </a:lnTo>
                <a:lnTo>
                  <a:pt x="1093" y="2699"/>
                </a:lnTo>
                <a:lnTo>
                  <a:pt x="1093" y="2718"/>
                </a:lnTo>
                <a:lnTo>
                  <a:pt x="1093" y="2796"/>
                </a:lnTo>
                <a:lnTo>
                  <a:pt x="1093" y="2825"/>
                </a:lnTo>
                <a:lnTo>
                  <a:pt x="1088" y="2852"/>
                </a:lnTo>
                <a:lnTo>
                  <a:pt x="1083" y="2879"/>
                </a:lnTo>
                <a:lnTo>
                  <a:pt x="1072" y="2906"/>
                </a:lnTo>
                <a:lnTo>
                  <a:pt x="1062" y="2931"/>
                </a:lnTo>
                <a:lnTo>
                  <a:pt x="1049" y="2955"/>
                </a:lnTo>
                <a:lnTo>
                  <a:pt x="1033" y="2977"/>
                </a:lnTo>
                <a:lnTo>
                  <a:pt x="1016" y="2997"/>
                </a:lnTo>
                <a:lnTo>
                  <a:pt x="998" y="3016"/>
                </a:lnTo>
                <a:lnTo>
                  <a:pt x="979" y="3033"/>
                </a:lnTo>
                <a:lnTo>
                  <a:pt x="957" y="3048"/>
                </a:lnTo>
                <a:lnTo>
                  <a:pt x="933" y="3060"/>
                </a:lnTo>
                <a:lnTo>
                  <a:pt x="910" y="3070"/>
                </a:lnTo>
                <a:lnTo>
                  <a:pt x="884" y="3077"/>
                </a:lnTo>
                <a:lnTo>
                  <a:pt x="857" y="3082"/>
                </a:lnTo>
                <a:lnTo>
                  <a:pt x="830" y="3084"/>
                </a:lnTo>
                <a:lnTo>
                  <a:pt x="810" y="3082"/>
                </a:lnTo>
                <a:lnTo>
                  <a:pt x="791" y="3080"/>
                </a:lnTo>
                <a:lnTo>
                  <a:pt x="773" y="3077"/>
                </a:lnTo>
                <a:lnTo>
                  <a:pt x="754" y="3072"/>
                </a:lnTo>
                <a:lnTo>
                  <a:pt x="735" y="3065"/>
                </a:lnTo>
                <a:lnTo>
                  <a:pt x="718" y="3057"/>
                </a:lnTo>
                <a:lnTo>
                  <a:pt x="703" y="3048"/>
                </a:lnTo>
                <a:lnTo>
                  <a:pt x="686" y="3038"/>
                </a:lnTo>
                <a:lnTo>
                  <a:pt x="673" y="3026"/>
                </a:lnTo>
                <a:lnTo>
                  <a:pt x="657" y="3014"/>
                </a:lnTo>
                <a:lnTo>
                  <a:pt x="644" y="3001"/>
                </a:lnTo>
                <a:lnTo>
                  <a:pt x="632" y="2987"/>
                </a:lnTo>
                <a:lnTo>
                  <a:pt x="620" y="2972"/>
                </a:lnTo>
                <a:lnTo>
                  <a:pt x="610" y="2955"/>
                </a:lnTo>
                <a:lnTo>
                  <a:pt x="601" y="2938"/>
                </a:lnTo>
                <a:lnTo>
                  <a:pt x="593" y="2921"/>
                </a:lnTo>
                <a:lnTo>
                  <a:pt x="578" y="2926"/>
                </a:lnTo>
                <a:lnTo>
                  <a:pt x="564" y="2928"/>
                </a:lnTo>
                <a:lnTo>
                  <a:pt x="549" y="2931"/>
                </a:lnTo>
                <a:lnTo>
                  <a:pt x="534" y="2931"/>
                </a:lnTo>
                <a:lnTo>
                  <a:pt x="517" y="2930"/>
                </a:lnTo>
                <a:lnTo>
                  <a:pt x="500" y="2928"/>
                </a:lnTo>
                <a:lnTo>
                  <a:pt x="483" y="2923"/>
                </a:lnTo>
                <a:lnTo>
                  <a:pt x="468" y="2918"/>
                </a:lnTo>
                <a:lnTo>
                  <a:pt x="452" y="2911"/>
                </a:lnTo>
                <a:lnTo>
                  <a:pt x="439" y="2903"/>
                </a:lnTo>
                <a:lnTo>
                  <a:pt x="425" y="2892"/>
                </a:lnTo>
                <a:lnTo>
                  <a:pt x="413" y="2882"/>
                </a:lnTo>
                <a:lnTo>
                  <a:pt x="403" y="2869"/>
                </a:lnTo>
                <a:lnTo>
                  <a:pt x="393" y="2857"/>
                </a:lnTo>
                <a:lnTo>
                  <a:pt x="385" y="2842"/>
                </a:lnTo>
                <a:lnTo>
                  <a:pt x="378" y="2828"/>
                </a:lnTo>
                <a:lnTo>
                  <a:pt x="371" y="2811"/>
                </a:lnTo>
                <a:lnTo>
                  <a:pt x="368" y="2796"/>
                </a:lnTo>
                <a:lnTo>
                  <a:pt x="364" y="2779"/>
                </a:lnTo>
                <a:lnTo>
                  <a:pt x="364" y="2760"/>
                </a:lnTo>
                <a:lnTo>
                  <a:pt x="364" y="2743"/>
                </a:lnTo>
                <a:lnTo>
                  <a:pt x="368" y="2726"/>
                </a:lnTo>
                <a:lnTo>
                  <a:pt x="371" y="2711"/>
                </a:lnTo>
                <a:lnTo>
                  <a:pt x="378" y="2694"/>
                </a:lnTo>
                <a:lnTo>
                  <a:pt x="385" y="2681"/>
                </a:lnTo>
                <a:lnTo>
                  <a:pt x="393" y="2665"/>
                </a:lnTo>
                <a:lnTo>
                  <a:pt x="403" y="2653"/>
                </a:lnTo>
                <a:lnTo>
                  <a:pt x="413" y="2640"/>
                </a:lnTo>
                <a:lnTo>
                  <a:pt x="425" y="2630"/>
                </a:lnTo>
                <a:lnTo>
                  <a:pt x="439" y="2620"/>
                </a:lnTo>
                <a:lnTo>
                  <a:pt x="452" y="2611"/>
                </a:lnTo>
                <a:lnTo>
                  <a:pt x="468" y="2604"/>
                </a:lnTo>
                <a:lnTo>
                  <a:pt x="483" y="2598"/>
                </a:lnTo>
                <a:lnTo>
                  <a:pt x="500" y="2594"/>
                </a:lnTo>
                <a:lnTo>
                  <a:pt x="517" y="2591"/>
                </a:lnTo>
                <a:lnTo>
                  <a:pt x="534" y="2591"/>
                </a:lnTo>
                <a:lnTo>
                  <a:pt x="539" y="2591"/>
                </a:lnTo>
                <a:lnTo>
                  <a:pt x="546" y="2570"/>
                </a:lnTo>
                <a:lnTo>
                  <a:pt x="554" y="2553"/>
                </a:lnTo>
                <a:lnTo>
                  <a:pt x="564" y="2535"/>
                </a:lnTo>
                <a:lnTo>
                  <a:pt x="574" y="2520"/>
                </a:lnTo>
                <a:lnTo>
                  <a:pt x="588" y="2504"/>
                </a:lnTo>
                <a:lnTo>
                  <a:pt x="601" y="2491"/>
                </a:lnTo>
                <a:lnTo>
                  <a:pt x="615" y="2479"/>
                </a:lnTo>
                <a:lnTo>
                  <a:pt x="630" y="2467"/>
                </a:lnTo>
                <a:lnTo>
                  <a:pt x="645" y="2457"/>
                </a:lnTo>
                <a:lnTo>
                  <a:pt x="661" y="2448"/>
                </a:lnTo>
                <a:lnTo>
                  <a:pt x="676" y="2442"/>
                </a:lnTo>
                <a:lnTo>
                  <a:pt x="691" y="2437"/>
                </a:lnTo>
                <a:lnTo>
                  <a:pt x="705" y="2431"/>
                </a:lnTo>
                <a:lnTo>
                  <a:pt x="718" y="2430"/>
                </a:lnTo>
                <a:lnTo>
                  <a:pt x="732" y="2428"/>
                </a:lnTo>
                <a:lnTo>
                  <a:pt x="742" y="2430"/>
                </a:lnTo>
                <a:lnTo>
                  <a:pt x="759" y="2421"/>
                </a:lnTo>
                <a:lnTo>
                  <a:pt x="776" y="2416"/>
                </a:lnTo>
                <a:lnTo>
                  <a:pt x="793" y="2411"/>
                </a:lnTo>
                <a:lnTo>
                  <a:pt x="808" y="2408"/>
                </a:lnTo>
                <a:lnTo>
                  <a:pt x="839" y="2404"/>
                </a:lnTo>
                <a:lnTo>
                  <a:pt x="869" y="2404"/>
                </a:lnTo>
                <a:lnTo>
                  <a:pt x="896" y="2408"/>
                </a:lnTo>
                <a:lnTo>
                  <a:pt x="923" y="2413"/>
                </a:lnTo>
                <a:lnTo>
                  <a:pt x="949" y="2421"/>
                </a:lnTo>
                <a:lnTo>
                  <a:pt x="972" y="2433"/>
                </a:lnTo>
                <a:lnTo>
                  <a:pt x="994" y="2445"/>
                </a:lnTo>
                <a:lnTo>
                  <a:pt x="1015" y="2457"/>
                </a:lnTo>
                <a:lnTo>
                  <a:pt x="1033" y="2470"/>
                </a:lnTo>
                <a:lnTo>
                  <a:pt x="1050" y="2484"/>
                </a:lnTo>
                <a:lnTo>
                  <a:pt x="1077" y="2508"/>
                </a:lnTo>
                <a:lnTo>
                  <a:pt x="1098" y="2526"/>
                </a:lnTo>
                <a:lnTo>
                  <a:pt x="1062" y="2581"/>
                </a:lnTo>
                <a:close/>
                <a:moveTo>
                  <a:pt x="647" y="2877"/>
                </a:moveTo>
                <a:lnTo>
                  <a:pt x="647" y="2877"/>
                </a:lnTo>
                <a:lnTo>
                  <a:pt x="654" y="2892"/>
                </a:lnTo>
                <a:lnTo>
                  <a:pt x="661" y="2908"/>
                </a:lnTo>
                <a:lnTo>
                  <a:pt x="668" y="2921"/>
                </a:lnTo>
                <a:lnTo>
                  <a:pt x="678" y="2933"/>
                </a:lnTo>
                <a:lnTo>
                  <a:pt x="686" y="2947"/>
                </a:lnTo>
                <a:lnTo>
                  <a:pt x="696" y="2957"/>
                </a:lnTo>
                <a:lnTo>
                  <a:pt x="708" y="2969"/>
                </a:lnTo>
                <a:lnTo>
                  <a:pt x="720" y="2977"/>
                </a:lnTo>
                <a:lnTo>
                  <a:pt x="732" y="2986"/>
                </a:lnTo>
                <a:lnTo>
                  <a:pt x="744" y="2994"/>
                </a:lnTo>
                <a:lnTo>
                  <a:pt x="757" y="3001"/>
                </a:lnTo>
                <a:lnTo>
                  <a:pt x="771" y="3006"/>
                </a:lnTo>
                <a:lnTo>
                  <a:pt x="786" y="3011"/>
                </a:lnTo>
                <a:lnTo>
                  <a:pt x="800" y="3013"/>
                </a:lnTo>
                <a:lnTo>
                  <a:pt x="815" y="3016"/>
                </a:lnTo>
                <a:lnTo>
                  <a:pt x="830" y="3016"/>
                </a:lnTo>
                <a:lnTo>
                  <a:pt x="849" y="3014"/>
                </a:lnTo>
                <a:lnTo>
                  <a:pt x="867" y="3011"/>
                </a:lnTo>
                <a:lnTo>
                  <a:pt x="886" y="3006"/>
                </a:lnTo>
                <a:lnTo>
                  <a:pt x="905" y="2999"/>
                </a:lnTo>
                <a:lnTo>
                  <a:pt x="922" y="2991"/>
                </a:lnTo>
                <a:lnTo>
                  <a:pt x="939" y="2979"/>
                </a:lnTo>
                <a:lnTo>
                  <a:pt x="952" y="2967"/>
                </a:lnTo>
                <a:lnTo>
                  <a:pt x="967" y="2953"/>
                </a:lnTo>
                <a:lnTo>
                  <a:pt x="979" y="2936"/>
                </a:lnTo>
                <a:lnTo>
                  <a:pt x="991" y="2919"/>
                </a:lnTo>
                <a:lnTo>
                  <a:pt x="1001" y="2903"/>
                </a:lnTo>
                <a:lnTo>
                  <a:pt x="1010" y="2882"/>
                </a:lnTo>
                <a:lnTo>
                  <a:pt x="1016" y="2862"/>
                </a:lnTo>
                <a:lnTo>
                  <a:pt x="1022" y="2840"/>
                </a:lnTo>
                <a:lnTo>
                  <a:pt x="1025" y="2818"/>
                </a:lnTo>
                <a:lnTo>
                  <a:pt x="1025" y="2796"/>
                </a:lnTo>
                <a:lnTo>
                  <a:pt x="1025" y="2718"/>
                </a:lnTo>
                <a:lnTo>
                  <a:pt x="1025" y="2699"/>
                </a:lnTo>
                <a:lnTo>
                  <a:pt x="1023" y="2681"/>
                </a:lnTo>
                <a:lnTo>
                  <a:pt x="1020" y="2664"/>
                </a:lnTo>
                <a:lnTo>
                  <a:pt x="1015" y="2647"/>
                </a:lnTo>
                <a:lnTo>
                  <a:pt x="1000" y="2660"/>
                </a:lnTo>
                <a:lnTo>
                  <a:pt x="981" y="2674"/>
                </a:lnTo>
                <a:lnTo>
                  <a:pt x="961" y="2686"/>
                </a:lnTo>
                <a:lnTo>
                  <a:pt x="940" y="2697"/>
                </a:lnTo>
                <a:lnTo>
                  <a:pt x="900" y="2718"/>
                </a:lnTo>
                <a:lnTo>
                  <a:pt x="857" y="2735"/>
                </a:lnTo>
                <a:lnTo>
                  <a:pt x="822" y="2748"/>
                </a:lnTo>
                <a:lnTo>
                  <a:pt x="791" y="2757"/>
                </a:lnTo>
                <a:lnTo>
                  <a:pt x="764" y="2765"/>
                </a:lnTo>
                <a:lnTo>
                  <a:pt x="752" y="2753"/>
                </a:lnTo>
                <a:lnTo>
                  <a:pt x="740" y="2743"/>
                </a:lnTo>
                <a:lnTo>
                  <a:pt x="734" y="2738"/>
                </a:lnTo>
                <a:lnTo>
                  <a:pt x="725" y="2736"/>
                </a:lnTo>
                <a:lnTo>
                  <a:pt x="717" y="2735"/>
                </a:lnTo>
                <a:lnTo>
                  <a:pt x="708" y="2733"/>
                </a:lnTo>
                <a:lnTo>
                  <a:pt x="696" y="2735"/>
                </a:lnTo>
                <a:lnTo>
                  <a:pt x="684" y="2740"/>
                </a:lnTo>
                <a:lnTo>
                  <a:pt x="673" y="2747"/>
                </a:lnTo>
                <a:lnTo>
                  <a:pt x="662" y="2755"/>
                </a:lnTo>
                <a:lnTo>
                  <a:pt x="656" y="2765"/>
                </a:lnTo>
                <a:lnTo>
                  <a:pt x="649" y="2777"/>
                </a:lnTo>
                <a:lnTo>
                  <a:pt x="645" y="2791"/>
                </a:lnTo>
                <a:lnTo>
                  <a:pt x="644" y="2806"/>
                </a:lnTo>
                <a:lnTo>
                  <a:pt x="644" y="2855"/>
                </a:lnTo>
                <a:lnTo>
                  <a:pt x="645" y="2867"/>
                </a:lnTo>
                <a:lnTo>
                  <a:pt x="647" y="2877"/>
                </a:lnTo>
                <a:close/>
                <a:moveTo>
                  <a:pt x="6028" y="329"/>
                </a:moveTo>
                <a:lnTo>
                  <a:pt x="6028" y="329"/>
                </a:lnTo>
                <a:lnTo>
                  <a:pt x="6019" y="330"/>
                </a:lnTo>
                <a:lnTo>
                  <a:pt x="6011" y="332"/>
                </a:lnTo>
                <a:lnTo>
                  <a:pt x="6002" y="334"/>
                </a:lnTo>
                <a:lnTo>
                  <a:pt x="5996" y="339"/>
                </a:lnTo>
                <a:lnTo>
                  <a:pt x="5989" y="344"/>
                </a:lnTo>
                <a:lnTo>
                  <a:pt x="5984" y="349"/>
                </a:lnTo>
                <a:lnTo>
                  <a:pt x="5974" y="363"/>
                </a:lnTo>
                <a:lnTo>
                  <a:pt x="5941" y="352"/>
                </a:lnTo>
                <a:lnTo>
                  <a:pt x="5911" y="342"/>
                </a:lnTo>
                <a:lnTo>
                  <a:pt x="5874" y="330"/>
                </a:lnTo>
                <a:lnTo>
                  <a:pt x="5835" y="313"/>
                </a:lnTo>
                <a:lnTo>
                  <a:pt x="5794" y="293"/>
                </a:lnTo>
                <a:lnTo>
                  <a:pt x="5774" y="281"/>
                </a:lnTo>
                <a:lnTo>
                  <a:pt x="5755" y="269"/>
                </a:lnTo>
                <a:lnTo>
                  <a:pt x="5738" y="258"/>
                </a:lnTo>
                <a:lnTo>
                  <a:pt x="5721" y="244"/>
                </a:lnTo>
                <a:lnTo>
                  <a:pt x="5718" y="261"/>
                </a:lnTo>
                <a:lnTo>
                  <a:pt x="5714" y="278"/>
                </a:lnTo>
                <a:lnTo>
                  <a:pt x="5713" y="297"/>
                </a:lnTo>
                <a:lnTo>
                  <a:pt x="5711" y="313"/>
                </a:lnTo>
                <a:lnTo>
                  <a:pt x="5711" y="391"/>
                </a:lnTo>
                <a:lnTo>
                  <a:pt x="5713" y="415"/>
                </a:lnTo>
                <a:lnTo>
                  <a:pt x="5716" y="437"/>
                </a:lnTo>
                <a:lnTo>
                  <a:pt x="5721" y="459"/>
                </a:lnTo>
                <a:lnTo>
                  <a:pt x="5728" y="480"/>
                </a:lnTo>
                <a:lnTo>
                  <a:pt x="5736" y="498"/>
                </a:lnTo>
                <a:lnTo>
                  <a:pt x="5745" y="517"/>
                </a:lnTo>
                <a:lnTo>
                  <a:pt x="5757" y="534"/>
                </a:lnTo>
                <a:lnTo>
                  <a:pt x="5770" y="549"/>
                </a:lnTo>
                <a:lnTo>
                  <a:pt x="5784" y="564"/>
                </a:lnTo>
                <a:lnTo>
                  <a:pt x="5799" y="576"/>
                </a:lnTo>
                <a:lnTo>
                  <a:pt x="5816" y="586"/>
                </a:lnTo>
                <a:lnTo>
                  <a:pt x="5833" y="596"/>
                </a:lnTo>
                <a:lnTo>
                  <a:pt x="5850" y="603"/>
                </a:lnTo>
                <a:lnTo>
                  <a:pt x="5869" y="608"/>
                </a:lnTo>
                <a:lnTo>
                  <a:pt x="5887" y="612"/>
                </a:lnTo>
                <a:lnTo>
                  <a:pt x="5908" y="613"/>
                </a:lnTo>
                <a:lnTo>
                  <a:pt x="5921" y="612"/>
                </a:lnTo>
                <a:lnTo>
                  <a:pt x="5936" y="610"/>
                </a:lnTo>
                <a:lnTo>
                  <a:pt x="5950" y="608"/>
                </a:lnTo>
                <a:lnTo>
                  <a:pt x="5963" y="603"/>
                </a:lnTo>
                <a:lnTo>
                  <a:pt x="5977" y="598"/>
                </a:lnTo>
                <a:lnTo>
                  <a:pt x="5991" y="591"/>
                </a:lnTo>
                <a:lnTo>
                  <a:pt x="6002" y="585"/>
                </a:lnTo>
                <a:lnTo>
                  <a:pt x="6014" y="576"/>
                </a:lnTo>
                <a:lnTo>
                  <a:pt x="6026" y="568"/>
                </a:lnTo>
                <a:lnTo>
                  <a:pt x="6036" y="557"/>
                </a:lnTo>
                <a:lnTo>
                  <a:pt x="6046" y="547"/>
                </a:lnTo>
                <a:lnTo>
                  <a:pt x="6057" y="535"/>
                </a:lnTo>
                <a:lnTo>
                  <a:pt x="6065" y="524"/>
                </a:lnTo>
                <a:lnTo>
                  <a:pt x="6074" y="510"/>
                </a:lnTo>
                <a:lnTo>
                  <a:pt x="6080" y="496"/>
                </a:lnTo>
                <a:lnTo>
                  <a:pt x="6087" y="483"/>
                </a:lnTo>
                <a:lnTo>
                  <a:pt x="6091" y="468"/>
                </a:lnTo>
                <a:lnTo>
                  <a:pt x="6092" y="451"/>
                </a:lnTo>
                <a:lnTo>
                  <a:pt x="6092" y="400"/>
                </a:lnTo>
                <a:lnTo>
                  <a:pt x="6091" y="386"/>
                </a:lnTo>
                <a:lnTo>
                  <a:pt x="6087" y="373"/>
                </a:lnTo>
                <a:lnTo>
                  <a:pt x="6080" y="361"/>
                </a:lnTo>
                <a:lnTo>
                  <a:pt x="6074" y="351"/>
                </a:lnTo>
                <a:lnTo>
                  <a:pt x="6063" y="342"/>
                </a:lnTo>
                <a:lnTo>
                  <a:pt x="6052" y="335"/>
                </a:lnTo>
                <a:lnTo>
                  <a:pt x="6040" y="330"/>
                </a:lnTo>
                <a:lnTo>
                  <a:pt x="6028" y="329"/>
                </a:lnTo>
                <a:close/>
                <a:moveTo>
                  <a:pt x="6145" y="518"/>
                </a:moveTo>
                <a:lnTo>
                  <a:pt x="6145" y="518"/>
                </a:lnTo>
                <a:lnTo>
                  <a:pt x="6136" y="535"/>
                </a:lnTo>
                <a:lnTo>
                  <a:pt x="6126" y="552"/>
                </a:lnTo>
                <a:lnTo>
                  <a:pt x="6116" y="568"/>
                </a:lnTo>
                <a:lnTo>
                  <a:pt x="6104" y="583"/>
                </a:lnTo>
                <a:lnTo>
                  <a:pt x="6092" y="598"/>
                </a:lnTo>
                <a:lnTo>
                  <a:pt x="6079" y="612"/>
                </a:lnTo>
                <a:lnTo>
                  <a:pt x="6065" y="624"/>
                </a:lnTo>
                <a:lnTo>
                  <a:pt x="6050" y="635"/>
                </a:lnTo>
                <a:lnTo>
                  <a:pt x="6035" y="646"/>
                </a:lnTo>
                <a:lnTo>
                  <a:pt x="6018" y="654"/>
                </a:lnTo>
                <a:lnTo>
                  <a:pt x="6001" y="663"/>
                </a:lnTo>
                <a:lnTo>
                  <a:pt x="5984" y="669"/>
                </a:lnTo>
                <a:lnTo>
                  <a:pt x="5965" y="674"/>
                </a:lnTo>
                <a:lnTo>
                  <a:pt x="5947" y="678"/>
                </a:lnTo>
                <a:lnTo>
                  <a:pt x="5928" y="679"/>
                </a:lnTo>
                <a:lnTo>
                  <a:pt x="5908" y="681"/>
                </a:lnTo>
                <a:lnTo>
                  <a:pt x="5880" y="679"/>
                </a:lnTo>
                <a:lnTo>
                  <a:pt x="5853" y="674"/>
                </a:lnTo>
                <a:lnTo>
                  <a:pt x="5828" y="668"/>
                </a:lnTo>
                <a:lnTo>
                  <a:pt x="5804" y="657"/>
                </a:lnTo>
                <a:lnTo>
                  <a:pt x="5780" y="646"/>
                </a:lnTo>
                <a:lnTo>
                  <a:pt x="5758" y="630"/>
                </a:lnTo>
                <a:lnTo>
                  <a:pt x="5738" y="613"/>
                </a:lnTo>
                <a:lnTo>
                  <a:pt x="5720" y="595"/>
                </a:lnTo>
                <a:lnTo>
                  <a:pt x="5703" y="574"/>
                </a:lnTo>
                <a:lnTo>
                  <a:pt x="5687" y="552"/>
                </a:lnTo>
                <a:lnTo>
                  <a:pt x="5675" y="529"/>
                </a:lnTo>
                <a:lnTo>
                  <a:pt x="5664" y="503"/>
                </a:lnTo>
                <a:lnTo>
                  <a:pt x="5655" y="476"/>
                </a:lnTo>
                <a:lnTo>
                  <a:pt x="5648" y="449"/>
                </a:lnTo>
                <a:lnTo>
                  <a:pt x="5645" y="420"/>
                </a:lnTo>
                <a:lnTo>
                  <a:pt x="5643" y="391"/>
                </a:lnTo>
                <a:lnTo>
                  <a:pt x="5643" y="313"/>
                </a:lnTo>
                <a:lnTo>
                  <a:pt x="5643" y="297"/>
                </a:lnTo>
                <a:lnTo>
                  <a:pt x="5645" y="278"/>
                </a:lnTo>
                <a:lnTo>
                  <a:pt x="5648" y="261"/>
                </a:lnTo>
                <a:lnTo>
                  <a:pt x="5652" y="242"/>
                </a:lnTo>
                <a:lnTo>
                  <a:pt x="5662" y="210"/>
                </a:lnTo>
                <a:lnTo>
                  <a:pt x="5675" y="178"/>
                </a:lnTo>
                <a:lnTo>
                  <a:pt x="5640" y="122"/>
                </a:lnTo>
                <a:lnTo>
                  <a:pt x="5659" y="105"/>
                </a:lnTo>
                <a:lnTo>
                  <a:pt x="5687" y="81"/>
                </a:lnTo>
                <a:lnTo>
                  <a:pt x="5703" y="68"/>
                </a:lnTo>
                <a:lnTo>
                  <a:pt x="5721" y="54"/>
                </a:lnTo>
                <a:lnTo>
                  <a:pt x="5742" y="41"/>
                </a:lnTo>
                <a:lnTo>
                  <a:pt x="5764" y="29"/>
                </a:lnTo>
                <a:lnTo>
                  <a:pt x="5787" y="19"/>
                </a:lnTo>
                <a:lnTo>
                  <a:pt x="5813" y="10"/>
                </a:lnTo>
                <a:lnTo>
                  <a:pt x="5840" y="3"/>
                </a:lnTo>
                <a:lnTo>
                  <a:pt x="5869" y="0"/>
                </a:lnTo>
                <a:lnTo>
                  <a:pt x="5897" y="0"/>
                </a:lnTo>
                <a:lnTo>
                  <a:pt x="5928" y="5"/>
                </a:lnTo>
                <a:lnTo>
                  <a:pt x="5945" y="8"/>
                </a:lnTo>
                <a:lnTo>
                  <a:pt x="5962" y="14"/>
                </a:lnTo>
                <a:lnTo>
                  <a:pt x="5977" y="19"/>
                </a:lnTo>
                <a:lnTo>
                  <a:pt x="5994" y="25"/>
                </a:lnTo>
                <a:lnTo>
                  <a:pt x="6006" y="25"/>
                </a:lnTo>
                <a:lnTo>
                  <a:pt x="6018" y="27"/>
                </a:lnTo>
                <a:lnTo>
                  <a:pt x="6031" y="29"/>
                </a:lnTo>
                <a:lnTo>
                  <a:pt x="6046" y="34"/>
                </a:lnTo>
                <a:lnTo>
                  <a:pt x="6062" y="39"/>
                </a:lnTo>
                <a:lnTo>
                  <a:pt x="6077" y="46"/>
                </a:lnTo>
                <a:lnTo>
                  <a:pt x="6092" y="54"/>
                </a:lnTo>
                <a:lnTo>
                  <a:pt x="6107" y="64"/>
                </a:lnTo>
                <a:lnTo>
                  <a:pt x="6123" y="75"/>
                </a:lnTo>
                <a:lnTo>
                  <a:pt x="6136" y="88"/>
                </a:lnTo>
                <a:lnTo>
                  <a:pt x="6150" y="102"/>
                </a:lnTo>
                <a:lnTo>
                  <a:pt x="6162" y="117"/>
                </a:lnTo>
                <a:lnTo>
                  <a:pt x="6174" y="132"/>
                </a:lnTo>
                <a:lnTo>
                  <a:pt x="6184" y="149"/>
                </a:lnTo>
                <a:lnTo>
                  <a:pt x="6190" y="168"/>
                </a:lnTo>
                <a:lnTo>
                  <a:pt x="6197" y="188"/>
                </a:lnTo>
                <a:lnTo>
                  <a:pt x="6202" y="188"/>
                </a:lnTo>
                <a:lnTo>
                  <a:pt x="6219" y="188"/>
                </a:lnTo>
                <a:lnTo>
                  <a:pt x="6236" y="191"/>
                </a:lnTo>
                <a:lnTo>
                  <a:pt x="6253" y="195"/>
                </a:lnTo>
                <a:lnTo>
                  <a:pt x="6268" y="202"/>
                </a:lnTo>
                <a:lnTo>
                  <a:pt x="6284" y="208"/>
                </a:lnTo>
                <a:lnTo>
                  <a:pt x="6297" y="217"/>
                </a:lnTo>
                <a:lnTo>
                  <a:pt x="6311" y="227"/>
                </a:lnTo>
                <a:lnTo>
                  <a:pt x="6323" y="237"/>
                </a:lnTo>
                <a:lnTo>
                  <a:pt x="6334" y="249"/>
                </a:lnTo>
                <a:lnTo>
                  <a:pt x="6345" y="263"/>
                </a:lnTo>
                <a:lnTo>
                  <a:pt x="6353" y="276"/>
                </a:lnTo>
                <a:lnTo>
                  <a:pt x="6360" y="291"/>
                </a:lnTo>
                <a:lnTo>
                  <a:pt x="6365" y="307"/>
                </a:lnTo>
                <a:lnTo>
                  <a:pt x="6370" y="324"/>
                </a:lnTo>
                <a:lnTo>
                  <a:pt x="6372" y="341"/>
                </a:lnTo>
                <a:lnTo>
                  <a:pt x="6373" y="358"/>
                </a:lnTo>
                <a:lnTo>
                  <a:pt x="6372" y="374"/>
                </a:lnTo>
                <a:lnTo>
                  <a:pt x="6370" y="391"/>
                </a:lnTo>
                <a:lnTo>
                  <a:pt x="6365" y="408"/>
                </a:lnTo>
                <a:lnTo>
                  <a:pt x="6360" y="424"/>
                </a:lnTo>
                <a:lnTo>
                  <a:pt x="6353" y="439"/>
                </a:lnTo>
                <a:lnTo>
                  <a:pt x="6345" y="452"/>
                </a:lnTo>
                <a:lnTo>
                  <a:pt x="6334" y="466"/>
                </a:lnTo>
                <a:lnTo>
                  <a:pt x="6323" y="478"/>
                </a:lnTo>
                <a:lnTo>
                  <a:pt x="6311" y="490"/>
                </a:lnTo>
                <a:lnTo>
                  <a:pt x="6297" y="500"/>
                </a:lnTo>
                <a:lnTo>
                  <a:pt x="6284" y="508"/>
                </a:lnTo>
                <a:lnTo>
                  <a:pt x="6268" y="515"/>
                </a:lnTo>
                <a:lnTo>
                  <a:pt x="6253" y="520"/>
                </a:lnTo>
                <a:lnTo>
                  <a:pt x="6236" y="525"/>
                </a:lnTo>
                <a:lnTo>
                  <a:pt x="6219" y="527"/>
                </a:lnTo>
                <a:lnTo>
                  <a:pt x="6202" y="529"/>
                </a:lnTo>
                <a:lnTo>
                  <a:pt x="6187" y="527"/>
                </a:lnTo>
                <a:lnTo>
                  <a:pt x="6174" y="525"/>
                </a:lnTo>
                <a:lnTo>
                  <a:pt x="6158" y="522"/>
                </a:lnTo>
                <a:lnTo>
                  <a:pt x="6145" y="518"/>
                </a:lnTo>
                <a:close/>
                <a:moveTo>
                  <a:pt x="6172" y="2713"/>
                </a:moveTo>
                <a:lnTo>
                  <a:pt x="6172" y="2718"/>
                </a:lnTo>
                <a:lnTo>
                  <a:pt x="6172" y="2796"/>
                </a:lnTo>
                <a:lnTo>
                  <a:pt x="6170" y="2825"/>
                </a:lnTo>
                <a:lnTo>
                  <a:pt x="6167" y="2852"/>
                </a:lnTo>
                <a:lnTo>
                  <a:pt x="6160" y="2879"/>
                </a:lnTo>
                <a:lnTo>
                  <a:pt x="6152" y="2906"/>
                </a:lnTo>
                <a:lnTo>
                  <a:pt x="6140" y="2931"/>
                </a:lnTo>
                <a:lnTo>
                  <a:pt x="6128" y="2955"/>
                </a:lnTo>
                <a:lnTo>
                  <a:pt x="6113" y="2977"/>
                </a:lnTo>
                <a:lnTo>
                  <a:pt x="6096" y="2997"/>
                </a:lnTo>
                <a:lnTo>
                  <a:pt x="6077" y="3016"/>
                </a:lnTo>
                <a:lnTo>
                  <a:pt x="6057" y="3033"/>
                </a:lnTo>
                <a:lnTo>
                  <a:pt x="6035" y="3048"/>
                </a:lnTo>
                <a:lnTo>
                  <a:pt x="6011" y="3060"/>
                </a:lnTo>
                <a:lnTo>
                  <a:pt x="5987" y="3070"/>
                </a:lnTo>
                <a:lnTo>
                  <a:pt x="5962" y="3077"/>
                </a:lnTo>
                <a:lnTo>
                  <a:pt x="5935" y="3082"/>
                </a:lnTo>
                <a:lnTo>
                  <a:pt x="5908" y="3084"/>
                </a:lnTo>
                <a:lnTo>
                  <a:pt x="5880" y="3082"/>
                </a:lnTo>
                <a:lnTo>
                  <a:pt x="5853" y="3077"/>
                </a:lnTo>
                <a:lnTo>
                  <a:pt x="5828" y="3070"/>
                </a:lnTo>
                <a:lnTo>
                  <a:pt x="5803" y="3060"/>
                </a:lnTo>
                <a:lnTo>
                  <a:pt x="5780" y="3048"/>
                </a:lnTo>
                <a:lnTo>
                  <a:pt x="5758" y="3033"/>
                </a:lnTo>
                <a:lnTo>
                  <a:pt x="5738" y="3016"/>
                </a:lnTo>
                <a:lnTo>
                  <a:pt x="5720" y="2997"/>
                </a:lnTo>
                <a:lnTo>
                  <a:pt x="5703" y="2977"/>
                </a:lnTo>
                <a:lnTo>
                  <a:pt x="5687" y="2955"/>
                </a:lnTo>
                <a:lnTo>
                  <a:pt x="5675" y="2931"/>
                </a:lnTo>
                <a:lnTo>
                  <a:pt x="5664" y="2906"/>
                </a:lnTo>
                <a:lnTo>
                  <a:pt x="5655" y="2879"/>
                </a:lnTo>
                <a:lnTo>
                  <a:pt x="5648" y="2852"/>
                </a:lnTo>
                <a:lnTo>
                  <a:pt x="5645" y="2825"/>
                </a:lnTo>
                <a:lnTo>
                  <a:pt x="5643" y="2796"/>
                </a:lnTo>
                <a:lnTo>
                  <a:pt x="5643" y="2718"/>
                </a:lnTo>
                <a:lnTo>
                  <a:pt x="5645" y="2689"/>
                </a:lnTo>
                <a:lnTo>
                  <a:pt x="5648" y="2660"/>
                </a:lnTo>
                <a:lnTo>
                  <a:pt x="5655" y="2633"/>
                </a:lnTo>
                <a:lnTo>
                  <a:pt x="5664" y="2606"/>
                </a:lnTo>
                <a:lnTo>
                  <a:pt x="5675" y="2581"/>
                </a:lnTo>
                <a:lnTo>
                  <a:pt x="5687" y="2557"/>
                </a:lnTo>
                <a:lnTo>
                  <a:pt x="5703" y="2535"/>
                </a:lnTo>
                <a:lnTo>
                  <a:pt x="5720" y="2514"/>
                </a:lnTo>
                <a:lnTo>
                  <a:pt x="5618" y="2492"/>
                </a:lnTo>
                <a:lnTo>
                  <a:pt x="5618" y="2426"/>
                </a:lnTo>
                <a:lnTo>
                  <a:pt x="5962" y="2415"/>
                </a:lnTo>
                <a:lnTo>
                  <a:pt x="5979" y="2416"/>
                </a:lnTo>
                <a:lnTo>
                  <a:pt x="5996" y="2420"/>
                </a:lnTo>
                <a:lnTo>
                  <a:pt x="6013" y="2425"/>
                </a:lnTo>
                <a:lnTo>
                  <a:pt x="6030" y="2433"/>
                </a:lnTo>
                <a:lnTo>
                  <a:pt x="6048" y="2443"/>
                </a:lnTo>
                <a:lnTo>
                  <a:pt x="6065" y="2457"/>
                </a:lnTo>
                <a:lnTo>
                  <a:pt x="6082" y="2472"/>
                </a:lnTo>
                <a:lnTo>
                  <a:pt x="6097" y="2489"/>
                </a:lnTo>
                <a:lnTo>
                  <a:pt x="6113" y="2509"/>
                </a:lnTo>
                <a:lnTo>
                  <a:pt x="6128" y="2530"/>
                </a:lnTo>
                <a:lnTo>
                  <a:pt x="6140" y="2553"/>
                </a:lnTo>
                <a:lnTo>
                  <a:pt x="6150" y="2581"/>
                </a:lnTo>
                <a:lnTo>
                  <a:pt x="6160" y="2608"/>
                </a:lnTo>
                <a:lnTo>
                  <a:pt x="6165" y="2638"/>
                </a:lnTo>
                <a:lnTo>
                  <a:pt x="6170" y="2669"/>
                </a:lnTo>
                <a:lnTo>
                  <a:pt x="6172" y="2703"/>
                </a:lnTo>
                <a:lnTo>
                  <a:pt x="6172" y="2713"/>
                </a:lnTo>
                <a:close/>
                <a:moveTo>
                  <a:pt x="5801" y="2531"/>
                </a:moveTo>
                <a:lnTo>
                  <a:pt x="5801" y="2531"/>
                </a:lnTo>
                <a:lnTo>
                  <a:pt x="5782" y="2547"/>
                </a:lnTo>
                <a:lnTo>
                  <a:pt x="5765" y="2565"/>
                </a:lnTo>
                <a:lnTo>
                  <a:pt x="5750" y="2586"/>
                </a:lnTo>
                <a:lnTo>
                  <a:pt x="5736" y="2609"/>
                </a:lnTo>
                <a:lnTo>
                  <a:pt x="5726" y="2633"/>
                </a:lnTo>
                <a:lnTo>
                  <a:pt x="5718" y="2660"/>
                </a:lnTo>
                <a:lnTo>
                  <a:pt x="5713" y="2687"/>
                </a:lnTo>
                <a:lnTo>
                  <a:pt x="5711" y="2718"/>
                </a:lnTo>
                <a:lnTo>
                  <a:pt x="5711" y="2796"/>
                </a:lnTo>
                <a:lnTo>
                  <a:pt x="5713" y="2818"/>
                </a:lnTo>
                <a:lnTo>
                  <a:pt x="5716" y="2840"/>
                </a:lnTo>
                <a:lnTo>
                  <a:pt x="5721" y="2862"/>
                </a:lnTo>
                <a:lnTo>
                  <a:pt x="5728" y="2882"/>
                </a:lnTo>
                <a:lnTo>
                  <a:pt x="5736" y="2903"/>
                </a:lnTo>
                <a:lnTo>
                  <a:pt x="5745" y="2919"/>
                </a:lnTo>
                <a:lnTo>
                  <a:pt x="5757" y="2936"/>
                </a:lnTo>
                <a:lnTo>
                  <a:pt x="5770" y="2953"/>
                </a:lnTo>
                <a:lnTo>
                  <a:pt x="5784" y="2967"/>
                </a:lnTo>
                <a:lnTo>
                  <a:pt x="5799" y="2979"/>
                </a:lnTo>
                <a:lnTo>
                  <a:pt x="5816" y="2991"/>
                </a:lnTo>
                <a:lnTo>
                  <a:pt x="5833" y="2999"/>
                </a:lnTo>
                <a:lnTo>
                  <a:pt x="5850" y="3006"/>
                </a:lnTo>
                <a:lnTo>
                  <a:pt x="5869" y="3011"/>
                </a:lnTo>
                <a:lnTo>
                  <a:pt x="5887" y="3014"/>
                </a:lnTo>
                <a:lnTo>
                  <a:pt x="5908" y="3016"/>
                </a:lnTo>
                <a:lnTo>
                  <a:pt x="5926" y="3014"/>
                </a:lnTo>
                <a:lnTo>
                  <a:pt x="5945" y="3011"/>
                </a:lnTo>
                <a:lnTo>
                  <a:pt x="5963" y="3006"/>
                </a:lnTo>
                <a:lnTo>
                  <a:pt x="5982" y="2999"/>
                </a:lnTo>
                <a:lnTo>
                  <a:pt x="5999" y="2991"/>
                </a:lnTo>
                <a:lnTo>
                  <a:pt x="6014" y="2980"/>
                </a:lnTo>
                <a:lnTo>
                  <a:pt x="6030" y="2967"/>
                </a:lnTo>
                <a:lnTo>
                  <a:pt x="6043" y="2953"/>
                </a:lnTo>
                <a:lnTo>
                  <a:pt x="6057" y="2938"/>
                </a:lnTo>
                <a:lnTo>
                  <a:pt x="6068" y="2921"/>
                </a:lnTo>
                <a:lnTo>
                  <a:pt x="6079" y="2904"/>
                </a:lnTo>
                <a:lnTo>
                  <a:pt x="6087" y="2886"/>
                </a:lnTo>
                <a:lnTo>
                  <a:pt x="6094" y="2865"/>
                </a:lnTo>
                <a:lnTo>
                  <a:pt x="6099" y="2843"/>
                </a:lnTo>
                <a:lnTo>
                  <a:pt x="6102" y="2821"/>
                </a:lnTo>
                <a:lnTo>
                  <a:pt x="6104" y="2799"/>
                </a:lnTo>
                <a:lnTo>
                  <a:pt x="5985" y="2838"/>
                </a:lnTo>
                <a:lnTo>
                  <a:pt x="5977" y="2669"/>
                </a:lnTo>
                <a:lnTo>
                  <a:pt x="5853" y="2669"/>
                </a:lnTo>
                <a:lnTo>
                  <a:pt x="5899" y="2552"/>
                </a:lnTo>
                <a:lnTo>
                  <a:pt x="5801" y="2531"/>
                </a:lnTo>
                <a:close/>
                <a:moveTo>
                  <a:pt x="4183" y="293"/>
                </a:moveTo>
                <a:lnTo>
                  <a:pt x="4279" y="274"/>
                </a:lnTo>
                <a:lnTo>
                  <a:pt x="4508" y="1596"/>
                </a:lnTo>
                <a:lnTo>
                  <a:pt x="4412" y="1615"/>
                </a:lnTo>
                <a:lnTo>
                  <a:pt x="4371" y="1474"/>
                </a:lnTo>
                <a:lnTo>
                  <a:pt x="4352" y="1405"/>
                </a:lnTo>
                <a:lnTo>
                  <a:pt x="4334" y="1333"/>
                </a:lnTo>
                <a:lnTo>
                  <a:pt x="4317" y="1262"/>
                </a:lnTo>
                <a:lnTo>
                  <a:pt x="4300" y="1191"/>
                </a:lnTo>
                <a:lnTo>
                  <a:pt x="4285" y="1120"/>
                </a:lnTo>
                <a:lnTo>
                  <a:pt x="4271" y="1049"/>
                </a:lnTo>
                <a:lnTo>
                  <a:pt x="3990" y="1769"/>
                </a:lnTo>
                <a:lnTo>
                  <a:pt x="3983" y="1793"/>
                </a:lnTo>
                <a:lnTo>
                  <a:pt x="3980" y="1811"/>
                </a:lnTo>
                <a:lnTo>
                  <a:pt x="3981" y="1827"/>
                </a:lnTo>
                <a:lnTo>
                  <a:pt x="3983" y="1833"/>
                </a:lnTo>
                <a:lnTo>
                  <a:pt x="3985" y="1840"/>
                </a:lnTo>
                <a:lnTo>
                  <a:pt x="3988" y="1845"/>
                </a:lnTo>
                <a:lnTo>
                  <a:pt x="3991" y="1850"/>
                </a:lnTo>
                <a:lnTo>
                  <a:pt x="4002" y="1857"/>
                </a:lnTo>
                <a:lnTo>
                  <a:pt x="4015" y="1862"/>
                </a:lnTo>
                <a:lnTo>
                  <a:pt x="4029" y="1862"/>
                </a:lnTo>
                <a:lnTo>
                  <a:pt x="5697" y="1862"/>
                </a:lnTo>
                <a:lnTo>
                  <a:pt x="5697" y="1930"/>
                </a:lnTo>
                <a:lnTo>
                  <a:pt x="4029" y="1930"/>
                </a:lnTo>
                <a:lnTo>
                  <a:pt x="4008" y="1930"/>
                </a:lnTo>
                <a:lnTo>
                  <a:pt x="3990" y="1927"/>
                </a:lnTo>
                <a:lnTo>
                  <a:pt x="3973" y="1920"/>
                </a:lnTo>
                <a:lnTo>
                  <a:pt x="3959" y="1913"/>
                </a:lnTo>
                <a:lnTo>
                  <a:pt x="3947" y="1903"/>
                </a:lnTo>
                <a:lnTo>
                  <a:pt x="3937" y="1893"/>
                </a:lnTo>
                <a:lnTo>
                  <a:pt x="3929" y="1881"/>
                </a:lnTo>
                <a:lnTo>
                  <a:pt x="3922" y="1867"/>
                </a:lnTo>
                <a:lnTo>
                  <a:pt x="3919" y="1854"/>
                </a:lnTo>
                <a:lnTo>
                  <a:pt x="3915" y="1838"/>
                </a:lnTo>
                <a:lnTo>
                  <a:pt x="3914" y="1823"/>
                </a:lnTo>
                <a:lnTo>
                  <a:pt x="3914" y="1808"/>
                </a:lnTo>
                <a:lnTo>
                  <a:pt x="3915" y="1791"/>
                </a:lnTo>
                <a:lnTo>
                  <a:pt x="3917" y="1776"/>
                </a:lnTo>
                <a:lnTo>
                  <a:pt x="3922" y="1760"/>
                </a:lnTo>
                <a:lnTo>
                  <a:pt x="3927" y="1745"/>
                </a:lnTo>
                <a:lnTo>
                  <a:pt x="4249" y="922"/>
                </a:lnTo>
                <a:lnTo>
                  <a:pt x="4235" y="844"/>
                </a:lnTo>
                <a:lnTo>
                  <a:pt x="4225" y="766"/>
                </a:lnTo>
                <a:lnTo>
                  <a:pt x="4215" y="688"/>
                </a:lnTo>
                <a:lnTo>
                  <a:pt x="4207" y="610"/>
                </a:lnTo>
                <a:lnTo>
                  <a:pt x="4200" y="530"/>
                </a:lnTo>
                <a:lnTo>
                  <a:pt x="4193" y="452"/>
                </a:lnTo>
                <a:lnTo>
                  <a:pt x="4188" y="373"/>
                </a:lnTo>
                <a:lnTo>
                  <a:pt x="4183" y="293"/>
                </a:lnTo>
                <a:close/>
                <a:moveTo>
                  <a:pt x="2555" y="2696"/>
                </a:moveTo>
                <a:lnTo>
                  <a:pt x="2555" y="2696"/>
                </a:lnTo>
                <a:lnTo>
                  <a:pt x="2550" y="2775"/>
                </a:lnTo>
                <a:lnTo>
                  <a:pt x="2545" y="2855"/>
                </a:lnTo>
                <a:lnTo>
                  <a:pt x="2540" y="2933"/>
                </a:lnTo>
                <a:lnTo>
                  <a:pt x="2531" y="3013"/>
                </a:lnTo>
                <a:lnTo>
                  <a:pt x="2523" y="3091"/>
                </a:lnTo>
                <a:lnTo>
                  <a:pt x="2512" y="3169"/>
                </a:lnTo>
                <a:lnTo>
                  <a:pt x="2502" y="3246"/>
                </a:lnTo>
                <a:lnTo>
                  <a:pt x="2490" y="3324"/>
                </a:lnTo>
                <a:lnTo>
                  <a:pt x="2811" y="4148"/>
                </a:lnTo>
                <a:lnTo>
                  <a:pt x="2817" y="4163"/>
                </a:lnTo>
                <a:lnTo>
                  <a:pt x="2821" y="4178"/>
                </a:lnTo>
                <a:lnTo>
                  <a:pt x="2824" y="4194"/>
                </a:lnTo>
                <a:lnTo>
                  <a:pt x="2824" y="4211"/>
                </a:lnTo>
                <a:lnTo>
                  <a:pt x="2824" y="4226"/>
                </a:lnTo>
                <a:lnTo>
                  <a:pt x="2822" y="4241"/>
                </a:lnTo>
                <a:lnTo>
                  <a:pt x="2821" y="4256"/>
                </a:lnTo>
                <a:lnTo>
                  <a:pt x="2816" y="4270"/>
                </a:lnTo>
                <a:lnTo>
                  <a:pt x="2809" y="4283"/>
                </a:lnTo>
                <a:lnTo>
                  <a:pt x="2800" y="4295"/>
                </a:lnTo>
                <a:lnTo>
                  <a:pt x="2790" y="4305"/>
                </a:lnTo>
                <a:lnTo>
                  <a:pt x="2778" y="4316"/>
                </a:lnTo>
                <a:lnTo>
                  <a:pt x="2765" y="4322"/>
                </a:lnTo>
                <a:lnTo>
                  <a:pt x="2748" y="4329"/>
                </a:lnTo>
                <a:lnTo>
                  <a:pt x="2729" y="4333"/>
                </a:lnTo>
                <a:lnTo>
                  <a:pt x="2709" y="4333"/>
                </a:lnTo>
                <a:lnTo>
                  <a:pt x="1040" y="4333"/>
                </a:lnTo>
                <a:lnTo>
                  <a:pt x="1040" y="4265"/>
                </a:lnTo>
                <a:lnTo>
                  <a:pt x="2709" y="4265"/>
                </a:lnTo>
                <a:lnTo>
                  <a:pt x="2724" y="4265"/>
                </a:lnTo>
                <a:lnTo>
                  <a:pt x="2736" y="4260"/>
                </a:lnTo>
                <a:lnTo>
                  <a:pt x="2746" y="4253"/>
                </a:lnTo>
                <a:lnTo>
                  <a:pt x="2750" y="4248"/>
                </a:lnTo>
                <a:lnTo>
                  <a:pt x="2753" y="4243"/>
                </a:lnTo>
                <a:lnTo>
                  <a:pt x="2756" y="4236"/>
                </a:lnTo>
                <a:lnTo>
                  <a:pt x="2758" y="4229"/>
                </a:lnTo>
                <a:lnTo>
                  <a:pt x="2758" y="4214"/>
                </a:lnTo>
                <a:lnTo>
                  <a:pt x="2755" y="4195"/>
                </a:lnTo>
                <a:lnTo>
                  <a:pt x="2748" y="4172"/>
                </a:lnTo>
                <a:lnTo>
                  <a:pt x="2467" y="3451"/>
                </a:lnTo>
                <a:lnTo>
                  <a:pt x="2453" y="3523"/>
                </a:lnTo>
                <a:lnTo>
                  <a:pt x="2438" y="3594"/>
                </a:lnTo>
                <a:lnTo>
                  <a:pt x="2421" y="3665"/>
                </a:lnTo>
                <a:lnTo>
                  <a:pt x="2404" y="3736"/>
                </a:lnTo>
                <a:lnTo>
                  <a:pt x="2387" y="3807"/>
                </a:lnTo>
                <a:lnTo>
                  <a:pt x="2367" y="3877"/>
                </a:lnTo>
                <a:lnTo>
                  <a:pt x="2326" y="4017"/>
                </a:lnTo>
                <a:lnTo>
                  <a:pt x="2230" y="3999"/>
                </a:lnTo>
                <a:lnTo>
                  <a:pt x="2458" y="2677"/>
                </a:lnTo>
                <a:lnTo>
                  <a:pt x="2555" y="2696"/>
                </a:lnTo>
                <a:close/>
                <a:moveTo>
                  <a:pt x="4183" y="2696"/>
                </a:moveTo>
                <a:lnTo>
                  <a:pt x="4279" y="2677"/>
                </a:lnTo>
                <a:lnTo>
                  <a:pt x="4508" y="3999"/>
                </a:lnTo>
                <a:lnTo>
                  <a:pt x="4412" y="4017"/>
                </a:lnTo>
                <a:lnTo>
                  <a:pt x="4371" y="3877"/>
                </a:lnTo>
                <a:lnTo>
                  <a:pt x="4352" y="3807"/>
                </a:lnTo>
                <a:lnTo>
                  <a:pt x="4334" y="3736"/>
                </a:lnTo>
                <a:lnTo>
                  <a:pt x="4317" y="3665"/>
                </a:lnTo>
                <a:lnTo>
                  <a:pt x="4300" y="3594"/>
                </a:lnTo>
                <a:lnTo>
                  <a:pt x="4285" y="3523"/>
                </a:lnTo>
                <a:lnTo>
                  <a:pt x="4271" y="3451"/>
                </a:lnTo>
                <a:lnTo>
                  <a:pt x="3990" y="4172"/>
                </a:lnTo>
                <a:lnTo>
                  <a:pt x="3983" y="4195"/>
                </a:lnTo>
                <a:lnTo>
                  <a:pt x="3980" y="4214"/>
                </a:lnTo>
                <a:lnTo>
                  <a:pt x="3981" y="4229"/>
                </a:lnTo>
                <a:lnTo>
                  <a:pt x="3983" y="4236"/>
                </a:lnTo>
                <a:lnTo>
                  <a:pt x="3985" y="4243"/>
                </a:lnTo>
                <a:lnTo>
                  <a:pt x="3988" y="4248"/>
                </a:lnTo>
                <a:lnTo>
                  <a:pt x="3991" y="4253"/>
                </a:lnTo>
                <a:lnTo>
                  <a:pt x="4002" y="4260"/>
                </a:lnTo>
                <a:lnTo>
                  <a:pt x="4015" y="4265"/>
                </a:lnTo>
                <a:lnTo>
                  <a:pt x="4029" y="4265"/>
                </a:lnTo>
                <a:lnTo>
                  <a:pt x="5697" y="4265"/>
                </a:lnTo>
                <a:lnTo>
                  <a:pt x="5697" y="4333"/>
                </a:lnTo>
                <a:lnTo>
                  <a:pt x="4029" y="4333"/>
                </a:lnTo>
                <a:lnTo>
                  <a:pt x="4008" y="4333"/>
                </a:lnTo>
                <a:lnTo>
                  <a:pt x="3990" y="4329"/>
                </a:lnTo>
                <a:lnTo>
                  <a:pt x="3973" y="4322"/>
                </a:lnTo>
                <a:lnTo>
                  <a:pt x="3959" y="4316"/>
                </a:lnTo>
                <a:lnTo>
                  <a:pt x="3947" y="4305"/>
                </a:lnTo>
                <a:lnTo>
                  <a:pt x="3937" y="4295"/>
                </a:lnTo>
                <a:lnTo>
                  <a:pt x="3929" y="4283"/>
                </a:lnTo>
                <a:lnTo>
                  <a:pt x="3922" y="4270"/>
                </a:lnTo>
                <a:lnTo>
                  <a:pt x="3919" y="4256"/>
                </a:lnTo>
                <a:lnTo>
                  <a:pt x="3915" y="4241"/>
                </a:lnTo>
                <a:lnTo>
                  <a:pt x="3914" y="4226"/>
                </a:lnTo>
                <a:lnTo>
                  <a:pt x="3914" y="4211"/>
                </a:lnTo>
                <a:lnTo>
                  <a:pt x="3915" y="4194"/>
                </a:lnTo>
                <a:lnTo>
                  <a:pt x="3917" y="4178"/>
                </a:lnTo>
                <a:lnTo>
                  <a:pt x="3922" y="4163"/>
                </a:lnTo>
                <a:lnTo>
                  <a:pt x="3927" y="4148"/>
                </a:lnTo>
                <a:lnTo>
                  <a:pt x="4249" y="3324"/>
                </a:lnTo>
                <a:lnTo>
                  <a:pt x="4235" y="3246"/>
                </a:lnTo>
                <a:lnTo>
                  <a:pt x="4225" y="3169"/>
                </a:lnTo>
                <a:lnTo>
                  <a:pt x="4215" y="3091"/>
                </a:lnTo>
                <a:lnTo>
                  <a:pt x="4207" y="3013"/>
                </a:lnTo>
                <a:lnTo>
                  <a:pt x="4200" y="2933"/>
                </a:lnTo>
                <a:lnTo>
                  <a:pt x="4193" y="2855"/>
                </a:lnTo>
                <a:lnTo>
                  <a:pt x="4188" y="2775"/>
                </a:lnTo>
                <a:lnTo>
                  <a:pt x="4183" y="2696"/>
                </a:lnTo>
                <a:close/>
                <a:moveTo>
                  <a:pt x="1991" y="4109"/>
                </a:moveTo>
                <a:lnTo>
                  <a:pt x="1991" y="4109"/>
                </a:lnTo>
                <a:lnTo>
                  <a:pt x="1994" y="4109"/>
                </a:lnTo>
                <a:lnTo>
                  <a:pt x="1999" y="4109"/>
                </a:lnTo>
                <a:lnTo>
                  <a:pt x="2001" y="4107"/>
                </a:lnTo>
                <a:lnTo>
                  <a:pt x="2003" y="4106"/>
                </a:lnTo>
                <a:lnTo>
                  <a:pt x="2004" y="4102"/>
                </a:lnTo>
                <a:lnTo>
                  <a:pt x="2003" y="4100"/>
                </a:lnTo>
                <a:lnTo>
                  <a:pt x="2001" y="4097"/>
                </a:lnTo>
                <a:lnTo>
                  <a:pt x="1999" y="4095"/>
                </a:lnTo>
                <a:lnTo>
                  <a:pt x="1864" y="4004"/>
                </a:lnTo>
                <a:lnTo>
                  <a:pt x="1843" y="3994"/>
                </a:lnTo>
                <a:lnTo>
                  <a:pt x="1825" y="3985"/>
                </a:lnTo>
                <a:lnTo>
                  <a:pt x="1804" y="3980"/>
                </a:lnTo>
                <a:lnTo>
                  <a:pt x="1784" y="3980"/>
                </a:lnTo>
                <a:lnTo>
                  <a:pt x="1465" y="3982"/>
                </a:lnTo>
                <a:lnTo>
                  <a:pt x="1465" y="3914"/>
                </a:lnTo>
                <a:lnTo>
                  <a:pt x="1782" y="3914"/>
                </a:lnTo>
                <a:lnTo>
                  <a:pt x="1811" y="3916"/>
                </a:lnTo>
                <a:lnTo>
                  <a:pt x="1825" y="3916"/>
                </a:lnTo>
                <a:lnTo>
                  <a:pt x="1838" y="3919"/>
                </a:lnTo>
                <a:lnTo>
                  <a:pt x="1852" y="3923"/>
                </a:lnTo>
                <a:lnTo>
                  <a:pt x="1864" y="3928"/>
                </a:lnTo>
                <a:lnTo>
                  <a:pt x="1875" y="3933"/>
                </a:lnTo>
                <a:lnTo>
                  <a:pt x="1887" y="3941"/>
                </a:lnTo>
                <a:lnTo>
                  <a:pt x="2036" y="4061"/>
                </a:lnTo>
                <a:lnTo>
                  <a:pt x="2045" y="4070"/>
                </a:lnTo>
                <a:lnTo>
                  <a:pt x="2053" y="4078"/>
                </a:lnTo>
                <a:lnTo>
                  <a:pt x="2058" y="4089"/>
                </a:lnTo>
                <a:lnTo>
                  <a:pt x="2062" y="4099"/>
                </a:lnTo>
                <a:lnTo>
                  <a:pt x="2065" y="4107"/>
                </a:lnTo>
                <a:lnTo>
                  <a:pt x="2065" y="4117"/>
                </a:lnTo>
                <a:lnTo>
                  <a:pt x="2063" y="4126"/>
                </a:lnTo>
                <a:lnTo>
                  <a:pt x="2062" y="4134"/>
                </a:lnTo>
                <a:lnTo>
                  <a:pt x="2058" y="4143"/>
                </a:lnTo>
                <a:lnTo>
                  <a:pt x="2053" y="4150"/>
                </a:lnTo>
                <a:lnTo>
                  <a:pt x="2048" y="4155"/>
                </a:lnTo>
                <a:lnTo>
                  <a:pt x="2041" y="4160"/>
                </a:lnTo>
                <a:lnTo>
                  <a:pt x="2035" y="4163"/>
                </a:lnTo>
                <a:lnTo>
                  <a:pt x="2026" y="4165"/>
                </a:lnTo>
                <a:lnTo>
                  <a:pt x="2018" y="4165"/>
                </a:lnTo>
                <a:lnTo>
                  <a:pt x="2008" y="4163"/>
                </a:lnTo>
                <a:lnTo>
                  <a:pt x="1962" y="4153"/>
                </a:lnTo>
                <a:lnTo>
                  <a:pt x="1962" y="4194"/>
                </a:lnTo>
                <a:lnTo>
                  <a:pt x="1586" y="4194"/>
                </a:lnTo>
                <a:lnTo>
                  <a:pt x="1586" y="4175"/>
                </a:lnTo>
                <a:lnTo>
                  <a:pt x="1537" y="4187"/>
                </a:lnTo>
                <a:lnTo>
                  <a:pt x="1535" y="4117"/>
                </a:lnTo>
                <a:lnTo>
                  <a:pt x="1833" y="4050"/>
                </a:lnTo>
                <a:lnTo>
                  <a:pt x="1991" y="4109"/>
                </a:lnTo>
                <a:close/>
                <a:moveTo>
                  <a:pt x="4752" y="1699"/>
                </a:moveTo>
                <a:lnTo>
                  <a:pt x="4908" y="1642"/>
                </a:lnTo>
                <a:lnTo>
                  <a:pt x="5206" y="1710"/>
                </a:lnTo>
                <a:lnTo>
                  <a:pt x="5204" y="1779"/>
                </a:lnTo>
                <a:lnTo>
                  <a:pt x="5157" y="1767"/>
                </a:lnTo>
                <a:lnTo>
                  <a:pt x="5157" y="1786"/>
                </a:lnTo>
                <a:lnTo>
                  <a:pt x="4779" y="1786"/>
                </a:lnTo>
                <a:lnTo>
                  <a:pt x="4779" y="1744"/>
                </a:lnTo>
                <a:lnTo>
                  <a:pt x="4733" y="1755"/>
                </a:lnTo>
                <a:lnTo>
                  <a:pt x="4725" y="1757"/>
                </a:lnTo>
                <a:lnTo>
                  <a:pt x="4717" y="1757"/>
                </a:lnTo>
                <a:lnTo>
                  <a:pt x="4708" y="1754"/>
                </a:lnTo>
                <a:lnTo>
                  <a:pt x="4701" y="1750"/>
                </a:lnTo>
                <a:lnTo>
                  <a:pt x="4695" y="1747"/>
                </a:lnTo>
                <a:lnTo>
                  <a:pt x="4688" y="1740"/>
                </a:lnTo>
                <a:lnTo>
                  <a:pt x="4684" y="1733"/>
                </a:lnTo>
                <a:lnTo>
                  <a:pt x="4679" y="1727"/>
                </a:lnTo>
                <a:lnTo>
                  <a:pt x="4678" y="1718"/>
                </a:lnTo>
                <a:lnTo>
                  <a:pt x="4678" y="1710"/>
                </a:lnTo>
                <a:lnTo>
                  <a:pt x="4678" y="1699"/>
                </a:lnTo>
                <a:lnTo>
                  <a:pt x="4679" y="1691"/>
                </a:lnTo>
                <a:lnTo>
                  <a:pt x="4683" y="1681"/>
                </a:lnTo>
                <a:lnTo>
                  <a:pt x="4689" y="1671"/>
                </a:lnTo>
                <a:lnTo>
                  <a:pt x="4696" y="1662"/>
                </a:lnTo>
                <a:lnTo>
                  <a:pt x="4706" y="1652"/>
                </a:lnTo>
                <a:lnTo>
                  <a:pt x="4855" y="1533"/>
                </a:lnTo>
                <a:lnTo>
                  <a:pt x="4866" y="1525"/>
                </a:lnTo>
                <a:lnTo>
                  <a:pt x="4878" y="1520"/>
                </a:lnTo>
                <a:lnTo>
                  <a:pt x="4891" y="1515"/>
                </a:lnTo>
                <a:lnTo>
                  <a:pt x="4905" y="1511"/>
                </a:lnTo>
                <a:lnTo>
                  <a:pt x="4916" y="1508"/>
                </a:lnTo>
                <a:lnTo>
                  <a:pt x="4932" y="1506"/>
                </a:lnTo>
                <a:lnTo>
                  <a:pt x="4961" y="1506"/>
                </a:lnTo>
                <a:lnTo>
                  <a:pt x="5277" y="1506"/>
                </a:lnTo>
                <a:lnTo>
                  <a:pt x="5277" y="1574"/>
                </a:lnTo>
                <a:lnTo>
                  <a:pt x="4959" y="1571"/>
                </a:lnTo>
                <a:lnTo>
                  <a:pt x="4937" y="1572"/>
                </a:lnTo>
                <a:lnTo>
                  <a:pt x="4918" y="1577"/>
                </a:lnTo>
                <a:lnTo>
                  <a:pt x="4898" y="1584"/>
                </a:lnTo>
                <a:lnTo>
                  <a:pt x="4879" y="1596"/>
                </a:lnTo>
                <a:lnTo>
                  <a:pt x="4744" y="1686"/>
                </a:lnTo>
                <a:lnTo>
                  <a:pt x="4740" y="1689"/>
                </a:lnTo>
                <a:lnTo>
                  <a:pt x="4739" y="1691"/>
                </a:lnTo>
                <a:lnTo>
                  <a:pt x="4739" y="1694"/>
                </a:lnTo>
                <a:lnTo>
                  <a:pt x="4739" y="1698"/>
                </a:lnTo>
                <a:lnTo>
                  <a:pt x="4740" y="1699"/>
                </a:lnTo>
                <a:lnTo>
                  <a:pt x="4744" y="1701"/>
                </a:lnTo>
                <a:lnTo>
                  <a:pt x="4747" y="1701"/>
                </a:lnTo>
                <a:lnTo>
                  <a:pt x="4752" y="16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00101439-031F-4395-871F-A28DCDB66972}"/>
              </a:ext>
            </a:extLst>
          </p:cNvPr>
          <p:cNvCxnSpPr>
            <a:cxnSpLocks/>
            <a:stCxn id="30" idx="2"/>
            <a:endCxn id="60" idx="0"/>
          </p:cNvCxnSpPr>
          <p:nvPr/>
        </p:nvCxnSpPr>
        <p:spPr>
          <a:xfrm>
            <a:off x="9233914" y="2254027"/>
            <a:ext cx="18863" cy="1668749"/>
          </a:xfrm>
          <a:prstGeom prst="straightConnector1">
            <a:avLst/>
          </a:prstGeom>
          <a:ln w="9525">
            <a:solidFill>
              <a:schemeClr val="tx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D88D37A2-AA9C-406A-B1BF-CC86BCA00880}"/>
              </a:ext>
            </a:extLst>
          </p:cNvPr>
          <p:cNvSpPr txBox="1"/>
          <p:nvPr/>
        </p:nvSpPr>
        <p:spPr>
          <a:xfrm>
            <a:off x="7842208" y="3922776"/>
            <a:ext cx="2821138" cy="5082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2E38">
                  <a:lumMod val="20000"/>
                  <a:lumOff val="80000"/>
                </a:srgbClr>
              </a:buClr>
              <a:buSzPct val="100000"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2E38">
                  <a:lumMod val="20000"/>
                  <a:lumOff val="8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AP Practic </a:t>
            </a:r>
            <a:r>
              <a:rPr kumimoji="0" lang="pl-PL" sz="1198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alent o</a:t>
            </a:r>
            <a:r>
              <a:rPr kumimoji="0" lang="en-US" sz="1198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oversight, </a:t>
            </a: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onitoring</a:t>
            </a: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forecasting</a:t>
            </a: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nd reporting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D047980-4170-0ED1-FEFD-9B6C20B62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962659"/>
              </p:ext>
            </p:extLst>
          </p:nvPr>
        </p:nvGraphicFramePr>
        <p:xfrm>
          <a:off x="627190" y="1240714"/>
          <a:ext cx="5728440" cy="38059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58054">
                  <a:extLst>
                    <a:ext uri="{9D8B030D-6E8A-4147-A177-3AD203B41FA5}">
                      <a16:colId xmlns:a16="http://schemas.microsoft.com/office/drawing/2014/main" val="4174807623"/>
                    </a:ext>
                  </a:extLst>
                </a:gridCol>
                <a:gridCol w="1521677">
                  <a:extLst>
                    <a:ext uri="{9D8B030D-6E8A-4147-A177-3AD203B41FA5}">
                      <a16:colId xmlns:a16="http://schemas.microsoft.com/office/drawing/2014/main" val="865215008"/>
                    </a:ext>
                  </a:extLst>
                </a:gridCol>
                <a:gridCol w="2348709">
                  <a:extLst>
                    <a:ext uri="{9D8B030D-6E8A-4147-A177-3AD203B41FA5}">
                      <a16:colId xmlns:a16="http://schemas.microsoft.com/office/drawing/2014/main" val="1659471726"/>
                    </a:ext>
                  </a:extLst>
                </a:gridCol>
              </a:tblGrid>
              <a:tr h="293279">
                <a:tc gridSpan="3">
                  <a:txBody>
                    <a:bodyPr/>
                    <a:lstStyle/>
                    <a:p>
                      <a:r>
                        <a:rPr lang="en-US" sz="1200" b="1">
                          <a:latin typeface="+mj-lt"/>
                        </a:rPr>
                        <a:t>SAP Specific </a:t>
                      </a:r>
                      <a:r>
                        <a:rPr lang="pl-PL" sz="1200" b="1">
                          <a:latin typeface="+mj-lt"/>
                        </a:rPr>
                        <a:t>s</a:t>
                      </a:r>
                      <a:r>
                        <a:rPr lang="en-US" sz="1200" b="1">
                          <a:latin typeface="+mj-lt"/>
                        </a:rPr>
                        <a:t>kills</a:t>
                      </a:r>
                      <a:endParaRPr lang="el-GR" sz="1200" b="1"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l-GR" sz="1300" b="1"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9756473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SAP Primary skill (Domai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RETAIN </a:t>
                      </a:r>
                      <a:endParaRPr lang="pl-PL" sz="1200" b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  <a:p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(Sub group4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noProof="0">
                          <a:solidFill>
                            <a:schemeClr val="bg1"/>
                          </a:solidFill>
                          <a:latin typeface="+mj-lt"/>
                        </a:rPr>
                        <a:t>Tracked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062405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SAP Sub-skill </a:t>
                      </a:r>
                    </a:p>
                    <a:p>
                      <a:r>
                        <a:rPr lang="en-US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(more than one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Excel fi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It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will</a:t>
                      </a:r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be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track</a:t>
                      </a:r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ed with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one or more</a:t>
                      </a:r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sub-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skills</a:t>
                      </a:r>
                      <a:r>
                        <a:rPr lang="pl-PL" sz="1200" b="0" noProof="0">
                          <a:solidFill>
                            <a:schemeClr val="bg1"/>
                          </a:solidFill>
                          <a:latin typeface="+mj-lt"/>
                        </a:rPr>
                        <a:t> per individual</a:t>
                      </a:r>
                      <a:endParaRPr lang="en-US" sz="1200" b="0" noProof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42471"/>
                  </a:ext>
                </a:extLst>
              </a:tr>
              <a:tr h="293279">
                <a:tc gridSpan="3">
                  <a:txBody>
                    <a:bodyPr/>
                    <a:lstStyle/>
                    <a:p>
                      <a:r>
                        <a:rPr lang="en-US" sz="1200" b="1" noProof="0">
                          <a:latin typeface="+mj-lt"/>
                        </a:rPr>
                        <a:t>Non-SAP specific skill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74033890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pPr marL="0" lvl="1" indent="0" algn="just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+mj-lt"/>
                        </a:rPr>
                        <a:t>Seniorit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just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RETAI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just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rank, not related to</a:t>
                      </a:r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a particular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SAP skill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3407481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r>
                        <a:rPr lang="pl-PL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Project availability </a:t>
                      </a:r>
                      <a:endParaRPr lang="en-US" sz="12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6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Tracked</a:t>
                      </a:r>
                      <a:endParaRPr lang="en-US" sz="1200" b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4142570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r>
                        <a:rPr lang="en-US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Languag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SuccessFactors - Employee profi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Quality of info challenged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7917377"/>
                  </a:ext>
                </a:extLst>
              </a:tr>
              <a:tr h="364738">
                <a:tc>
                  <a:txBody>
                    <a:bodyPr/>
                    <a:lstStyle/>
                    <a:p>
                      <a:pPr marL="0" lvl="1" indent="0" algn="just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Industry Experience (sector and service provided)</a:t>
                      </a:r>
                      <a:endParaRPr lang="pl-PL" sz="12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ccessFactors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- Employee profi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spcBef>
                          <a:spcPts val="600"/>
                        </a:spcBef>
                        <a:spcAft>
                          <a:spcPts val="600"/>
                        </a:spcAft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Quality of info </a:t>
                      </a:r>
                      <a:r>
                        <a:rPr lang="en-US" sz="12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llenged</a:t>
                      </a:r>
                      <a:endParaRPr lang="en-US" sz="1200" b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6060518"/>
                  </a:ext>
                </a:extLst>
              </a:tr>
              <a:tr h="293279">
                <a:tc>
                  <a:txBody>
                    <a:bodyPr/>
                    <a:lstStyle/>
                    <a:p>
                      <a:r>
                        <a:rPr lang="pl-PL" sz="1200" b="1" noProof="0" dirty="0">
                          <a:solidFill>
                            <a:schemeClr val="bg1"/>
                          </a:solidFill>
                          <a:latin typeface="+mj-lt"/>
                        </a:rPr>
                        <a:t>Availability to travel</a:t>
                      </a:r>
                      <a:endParaRPr lang="en-US" sz="12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SuccessFactors</a:t>
                      </a:r>
                    </a:p>
                    <a:p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(m</a:t>
                      </a:r>
                      <a:r>
                        <a:rPr lang="en-US" sz="1200" b="0" noProof="0" dirty="0" err="1">
                          <a:solidFill>
                            <a:schemeClr val="bg1"/>
                          </a:solidFill>
                          <a:latin typeface="+mj-lt"/>
                        </a:rPr>
                        <a:t>anual</a:t>
                      </a:r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 input</a:t>
                      </a:r>
                      <a:r>
                        <a:rPr lang="pl-PL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)</a:t>
                      </a:r>
                      <a:endParaRPr lang="en-US" sz="1200" b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noProof="0" dirty="0">
                          <a:solidFill>
                            <a:schemeClr val="bg1"/>
                          </a:solidFill>
                          <a:latin typeface="+mj-lt"/>
                        </a:rPr>
                        <a:t>Optional – dynamic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400042"/>
                  </a:ext>
                </a:extLst>
              </a:tr>
            </a:tbl>
          </a:graphicData>
        </a:graphic>
      </p:graphicFrame>
      <p:sp>
        <p:nvSpPr>
          <p:cNvPr id="77" name="Freeform 21">
            <a:extLst>
              <a:ext uri="{FF2B5EF4-FFF2-40B4-BE49-F238E27FC236}">
                <a16:creationId xmlns:a16="http://schemas.microsoft.com/office/drawing/2014/main" id="{15EE901E-E90C-94B9-DB08-82765F9FE5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09111" y="5336313"/>
            <a:ext cx="676700" cy="456724"/>
          </a:xfrm>
          <a:custGeom>
            <a:avLst/>
            <a:gdLst>
              <a:gd name="T0" fmla="*/ 2147483647 w 6736"/>
              <a:gd name="T1" fmla="*/ 2147483647 h 4541"/>
              <a:gd name="T2" fmla="*/ 2147483647 w 6736"/>
              <a:gd name="T3" fmla="*/ 2147483647 h 4541"/>
              <a:gd name="T4" fmla="*/ 2147483647 w 6736"/>
              <a:gd name="T5" fmla="*/ 2147483647 h 4541"/>
              <a:gd name="T6" fmla="*/ 2147483647 w 6736"/>
              <a:gd name="T7" fmla="*/ 2147483647 h 4541"/>
              <a:gd name="T8" fmla="*/ 2147483647 w 6736"/>
              <a:gd name="T9" fmla="*/ 2147483647 h 4541"/>
              <a:gd name="T10" fmla="*/ 2147483647 w 6736"/>
              <a:gd name="T11" fmla="*/ 2147483647 h 4541"/>
              <a:gd name="T12" fmla="*/ 2147483647 w 6736"/>
              <a:gd name="T13" fmla="*/ 2147483647 h 4541"/>
              <a:gd name="T14" fmla="*/ 2147483647 w 6736"/>
              <a:gd name="T15" fmla="*/ 2147483647 h 4541"/>
              <a:gd name="T16" fmla="*/ 2147483647 w 6736"/>
              <a:gd name="T17" fmla="*/ 2147483647 h 4541"/>
              <a:gd name="T18" fmla="*/ 2147483647 w 6736"/>
              <a:gd name="T19" fmla="*/ 2147483647 h 4541"/>
              <a:gd name="T20" fmla="*/ 2147483647 w 6736"/>
              <a:gd name="T21" fmla="*/ 2147483647 h 4541"/>
              <a:gd name="T22" fmla="*/ 2147483647 w 6736"/>
              <a:gd name="T23" fmla="*/ 2147483647 h 4541"/>
              <a:gd name="T24" fmla="*/ 2147483647 w 6736"/>
              <a:gd name="T25" fmla="*/ 2147483647 h 4541"/>
              <a:gd name="T26" fmla="*/ 2147483647 w 6736"/>
              <a:gd name="T27" fmla="*/ 2147483647 h 4541"/>
              <a:gd name="T28" fmla="*/ 2147483647 w 6736"/>
              <a:gd name="T29" fmla="*/ 2147483647 h 4541"/>
              <a:gd name="T30" fmla="*/ 2147483647 w 6736"/>
              <a:gd name="T31" fmla="*/ 2147483647 h 4541"/>
              <a:gd name="T32" fmla="*/ 2147483647 w 6736"/>
              <a:gd name="T33" fmla="*/ 2147483647 h 4541"/>
              <a:gd name="T34" fmla="*/ 2147483647 w 6736"/>
              <a:gd name="T35" fmla="*/ 2147483647 h 4541"/>
              <a:gd name="T36" fmla="*/ 2147483647 w 6736"/>
              <a:gd name="T37" fmla="*/ 2147483647 h 4541"/>
              <a:gd name="T38" fmla="*/ 2147483647 w 6736"/>
              <a:gd name="T39" fmla="*/ 2147483647 h 4541"/>
              <a:gd name="T40" fmla="*/ 2147483647 w 6736"/>
              <a:gd name="T41" fmla="*/ 2147483647 h 4541"/>
              <a:gd name="T42" fmla="*/ 2147483647 w 6736"/>
              <a:gd name="T43" fmla="*/ 2147483647 h 4541"/>
              <a:gd name="T44" fmla="*/ 2147483647 w 6736"/>
              <a:gd name="T45" fmla="*/ 2147483647 h 4541"/>
              <a:gd name="T46" fmla="*/ 2147483647 w 6736"/>
              <a:gd name="T47" fmla="*/ 2147483647 h 4541"/>
              <a:gd name="T48" fmla="*/ 2147483647 w 6736"/>
              <a:gd name="T49" fmla="*/ 2147483647 h 4541"/>
              <a:gd name="T50" fmla="*/ 2147483647 w 6736"/>
              <a:gd name="T51" fmla="*/ 2147483647 h 4541"/>
              <a:gd name="T52" fmla="*/ 2147483647 w 6736"/>
              <a:gd name="T53" fmla="*/ 2147483647 h 4541"/>
              <a:gd name="T54" fmla="*/ 2147483647 w 6736"/>
              <a:gd name="T55" fmla="*/ 2147483647 h 4541"/>
              <a:gd name="T56" fmla="*/ 2147483647 w 6736"/>
              <a:gd name="T57" fmla="*/ 2147483647 h 4541"/>
              <a:gd name="T58" fmla="*/ 2147483647 w 6736"/>
              <a:gd name="T59" fmla="*/ 2147483647 h 4541"/>
              <a:gd name="T60" fmla="*/ 2147483647 w 6736"/>
              <a:gd name="T61" fmla="*/ 2147483647 h 4541"/>
              <a:gd name="T62" fmla="*/ 2147483647 w 6736"/>
              <a:gd name="T63" fmla="*/ 2147483647 h 4541"/>
              <a:gd name="T64" fmla="*/ 2147483647 w 6736"/>
              <a:gd name="T65" fmla="*/ 2147483647 h 4541"/>
              <a:gd name="T66" fmla="*/ 2147483647 w 6736"/>
              <a:gd name="T67" fmla="*/ 2147483647 h 4541"/>
              <a:gd name="T68" fmla="*/ 2147483647 w 6736"/>
              <a:gd name="T69" fmla="*/ 2147483647 h 4541"/>
              <a:gd name="T70" fmla="*/ 2147483647 w 6736"/>
              <a:gd name="T71" fmla="*/ 2147483647 h 4541"/>
              <a:gd name="T72" fmla="*/ 2147483647 w 6736"/>
              <a:gd name="T73" fmla="*/ 2147483647 h 4541"/>
              <a:gd name="T74" fmla="*/ 2147483647 w 6736"/>
              <a:gd name="T75" fmla="*/ 2147483647 h 4541"/>
              <a:gd name="T76" fmla="*/ 2147483647 w 6736"/>
              <a:gd name="T77" fmla="*/ 2147483647 h 4541"/>
              <a:gd name="T78" fmla="*/ 2147483647 w 6736"/>
              <a:gd name="T79" fmla="*/ 2147483647 h 4541"/>
              <a:gd name="T80" fmla="*/ 2147483647 w 6736"/>
              <a:gd name="T81" fmla="*/ 2147483647 h 4541"/>
              <a:gd name="T82" fmla="*/ 2147483647 w 6736"/>
              <a:gd name="T83" fmla="*/ 2147483647 h 4541"/>
              <a:gd name="T84" fmla="*/ 2147483647 w 6736"/>
              <a:gd name="T85" fmla="*/ 2147483647 h 4541"/>
              <a:gd name="T86" fmla="*/ 2147483647 w 6736"/>
              <a:gd name="T87" fmla="*/ 2147483647 h 4541"/>
              <a:gd name="T88" fmla="*/ 2147483647 w 6736"/>
              <a:gd name="T89" fmla="*/ 2147483647 h 4541"/>
              <a:gd name="T90" fmla="*/ 2147483647 w 6736"/>
              <a:gd name="T91" fmla="*/ 2147483647 h 4541"/>
              <a:gd name="T92" fmla="*/ 2147483647 w 6736"/>
              <a:gd name="T93" fmla="*/ 2147483647 h 4541"/>
              <a:gd name="T94" fmla="*/ 2147483647 w 6736"/>
              <a:gd name="T95" fmla="*/ 2147483647 h 4541"/>
              <a:gd name="T96" fmla="*/ 2147483647 w 6736"/>
              <a:gd name="T97" fmla="*/ 2147483647 h 4541"/>
              <a:gd name="T98" fmla="*/ 2147483647 w 6736"/>
              <a:gd name="T99" fmla="*/ 2147483647 h 4541"/>
              <a:gd name="T100" fmla="*/ 2147483647 w 6736"/>
              <a:gd name="T101" fmla="*/ 2147483647 h 4541"/>
              <a:gd name="T102" fmla="*/ 2147483647 w 6736"/>
              <a:gd name="T103" fmla="*/ 2147483647 h 4541"/>
              <a:gd name="T104" fmla="*/ 2147483647 w 6736"/>
              <a:gd name="T105" fmla="*/ 2147483647 h 4541"/>
              <a:gd name="T106" fmla="*/ 2147483647 w 6736"/>
              <a:gd name="T107" fmla="*/ 2147483647 h 4541"/>
              <a:gd name="T108" fmla="*/ 2147483647 w 6736"/>
              <a:gd name="T109" fmla="*/ 2147483647 h 4541"/>
              <a:gd name="T110" fmla="*/ 2147483647 w 6736"/>
              <a:gd name="T111" fmla="*/ 2147483647 h 4541"/>
              <a:gd name="T112" fmla="*/ 2147483647 w 6736"/>
              <a:gd name="T113" fmla="*/ 2147483647 h 4541"/>
              <a:gd name="T114" fmla="*/ 2147483647 w 6736"/>
              <a:gd name="T115" fmla="*/ 2147483647 h 4541"/>
              <a:gd name="T116" fmla="*/ 2147483647 w 6736"/>
              <a:gd name="T117" fmla="*/ 2147483647 h 4541"/>
              <a:gd name="T118" fmla="*/ 2147483647 w 6736"/>
              <a:gd name="T119" fmla="*/ 2147483647 h 4541"/>
              <a:gd name="T120" fmla="*/ 2147483647 w 6736"/>
              <a:gd name="T121" fmla="*/ 2147483647 h 4541"/>
              <a:gd name="T122" fmla="*/ 2147483647 w 6736"/>
              <a:gd name="T123" fmla="*/ 2147483647 h 4541"/>
              <a:gd name="T124" fmla="*/ 2147483647 w 6736"/>
              <a:gd name="T125" fmla="*/ 2147483647 h 45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36"/>
              <a:gd name="T190" fmla="*/ 0 h 4541"/>
              <a:gd name="T191" fmla="*/ 6736 w 6736"/>
              <a:gd name="T192" fmla="*/ 4541 h 45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36" h="4541">
                <a:moveTo>
                  <a:pt x="4752" y="4109"/>
                </a:moveTo>
                <a:lnTo>
                  <a:pt x="4908" y="4050"/>
                </a:lnTo>
                <a:lnTo>
                  <a:pt x="5206" y="4117"/>
                </a:lnTo>
                <a:lnTo>
                  <a:pt x="5204" y="4187"/>
                </a:lnTo>
                <a:lnTo>
                  <a:pt x="5157" y="4175"/>
                </a:lnTo>
                <a:lnTo>
                  <a:pt x="5157" y="4194"/>
                </a:lnTo>
                <a:lnTo>
                  <a:pt x="4779" y="4194"/>
                </a:lnTo>
                <a:lnTo>
                  <a:pt x="4779" y="4153"/>
                </a:lnTo>
                <a:lnTo>
                  <a:pt x="4733" y="4163"/>
                </a:lnTo>
                <a:lnTo>
                  <a:pt x="4725" y="4165"/>
                </a:lnTo>
                <a:lnTo>
                  <a:pt x="4717" y="4165"/>
                </a:lnTo>
                <a:lnTo>
                  <a:pt x="4708" y="4163"/>
                </a:lnTo>
                <a:lnTo>
                  <a:pt x="4701" y="4160"/>
                </a:lnTo>
                <a:lnTo>
                  <a:pt x="4695" y="4155"/>
                </a:lnTo>
                <a:lnTo>
                  <a:pt x="4688" y="4150"/>
                </a:lnTo>
                <a:lnTo>
                  <a:pt x="4684" y="4143"/>
                </a:lnTo>
                <a:lnTo>
                  <a:pt x="4679" y="4134"/>
                </a:lnTo>
                <a:lnTo>
                  <a:pt x="4678" y="4126"/>
                </a:lnTo>
                <a:lnTo>
                  <a:pt x="4678" y="4117"/>
                </a:lnTo>
                <a:lnTo>
                  <a:pt x="4678" y="4107"/>
                </a:lnTo>
                <a:lnTo>
                  <a:pt x="4679" y="4099"/>
                </a:lnTo>
                <a:lnTo>
                  <a:pt x="4683" y="4089"/>
                </a:lnTo>
                <a:lnTo>
                  <a:pt x="4689" y="4078"/>
                </a:lnTo>
                <a:lnTo>
                  <a:pt x="4696" y="4070"/>
                </a:lnTo>
                <a:lnTo>
                  <a:pt x="4706" y="4061"/>
                </a:lnTo>
                <a:lnTo>
                  <a:pt x="4855" y="3941"/>
                </a:lnTo>
                <a:lnTo>
                  <a:pt x="4866" y="3933"/>
                </a:lnTo>
                <a:lnTo>
                  <a:pt x="4878" y="3928"/>
                </a:lnTo>
                <a:lnTo>
                  <a:pt x="4891" y="3923"/>
                </a:lnTo>
                <a:lnTo>
                  <a:pt x="4905" y="3919"/>
                </a:lnTo>
                <a:lnTo>
                  <a:pt x="4916" y="3916"/>
                </a:lnTo>
                <a:lnTo>
                  <a:pt x="4932" y="3916"/>
                </a:lnTo>
                <a:lnTo>
                  <a:pt x="4961" y="3914"/>
                </a:lnTo>
                <a:lnTo>
                  <a:pt x="5277" y="3914"/>
                </a:lnTo>
                <a:lnTo>
                  <a:pt x="5277" y="3982"/>
                </a:lnTo>
                <a:lnTo>
                  <a:pt x="4959" y="3980"/>
                </a:lnTo>
                <a:lnTo>
                  <a:pt x="4937" y="3980"/>
                </a:lnTo>
                <a:lnTo>
                  <a:pt x="4918" y="3985"/>
                </a:lnTo>
                <a:lnTo>
                  <a:pt x="4898" y="3994"/>
                </a:lnTo>
                <a:lnTo>
                  <a:pt x="4879" y="4004"/>
                </a:lnTo>
                <a:lnTo>
                  <a:pt x="4744" y="4095"/>
                </a:lnTo>
                <a:lnTo>
                  <a:pt x="4740" y="4097"/>
                </a:lnTo>
                <a:lnTo>
                  <a:pt x="4739" y="4100"/>
                </a:lnTo>
                <a:lnTo>
                  <a:pt x="4739" y="4102"/>
                </a:lnTo>
                <a:lnTo>
                  <a:pt x="4739" y="4106"/>
                </a:lnTo>
                <a:lnTo>
                  <a:pt x="4740" y="4107"/>
                </a:lnTo>
                <a:lnTo>
                  <a:pt x="4744" y="4109"/>
                </a:lnTo>
                <a:lnTo>
                  <a:pt x="4747" y="4109"/>
                </a:lnTo>
                <a:lnTo>
                  <a:pt x="4752" y="4109"/>
                </a:lnTo>
                <a:close/>
                <a:moveTo>
                  <a:pt x="5967" y="4499"/>
                </a:moveTo>
                <a:lnTo>
                  <a:pt x="5918" y="4243"/>
                </a:lnTo>
                <a:lnTo>
                  <a:pt x="6255" y="3873"/>
                </a:lnTo>
                <a:lnTo>
                  <a:pt x="6204" y="3828"/>
                </a:lnTo>
                <a:lnTo>
                  <a:pt x="5880" y="4182"/>
                </a:lnTo>
                <a:lnTo>
                  <a:pt x="5320" y="4182"/>
                </a:lnTo>
                <a:lnTo>
                  <a:pt x="5320" y="3912"/>
                </a:lnTo>
                <a:lnTo>
                  <a:pt x="5653" y="3838"/>
                </a:lnTo>
                <a:lnTo>
                  <a:pt x="5796" y="3628"/>
                </a:lnTo>
                <a:lnTo>
                  <a:pt x="5772" y="3506"/>
                </a:lnTo>
                <a:lnTo>
                  <a:pt x="5770" y="3489"/>
                </a:lnTo>
                <a:lnTo>
                  <a:pt x="5769" y="3474"/>
                </a:lnTo>
                <a:lnTo>
                  <a:pt x="5770" y="3457"/>
                </a:lnTo>
                <a:lnTo>
                  <a:pt x="5772" y="3441"/>
                </a:lnTo>
                <a:lnTo>
                  <a:pt x="5777" y="3424"/>
                </a:lnTo>
                <a:lnTo>
                  <a:pt x="5782" y="3409"/>
                </a:lnTo>
                <a:lnTo>
                  <a:pt x="5789" y="3394"/>
                </a:lnTo>
                <a:lnTo>
                  <a:pt x="5796" y="3379"/>
                </a:lnTo>
                <a:lnTo>
                  <a:pt x="5813" y="3350"/>
                </a:lnTo>
                <a:lnTo>
                  <a:pt x="5831" y="3326"/>
                </a:lnTo>
                <a:lnTo>
                  <a:pt x="5853" y="3304"/>
                </a:lnTo>
                <a:lnTo>
                  <a:pt x="5864" y="3296"/>
                </a:lnTo>
                <a:lnTo>
                  <a:pt x="5874" y="3289"/>
                </a:lnTo>
                <a:lnTo>
                  <a:pt x="6057" y="3172"/>
                </a:lnTo>
                <a:lnTo>
                  <a:pt x="6096" y="3155"/>
                </a:lnTo>
                <a:lnTo>
                  <a:pt x="6114" y="3150"/>
                </a:lnTo>
                <a:lnTo>
                  <a:pt x="6131" y="3145"/>
                </a:lnTo>
                <a:lnTo>
                  <a:pt x="6148" y="3141"/>
                </a:lnTo>
                <a:lnTo>
                  <a:pt x="6165" y="3141"/>
                </a:lnTo>
                <a:lnTo>
                  <a:pt x="6180" y="3141"/>
                </a:lnTo>
                <a:lnTo>
                  <a:pt x="6194" y="3143"/>
                </a:lnTo>
                <a:lnTo>
                  <a:pt x="6207" y="3148"/>
                </a:lnTo>
                <a:lnTo>
                  <a:pt x="6221" y="3153"/>
                </a:lnTo>
                <a:lnTo>
                  <a:pt x="6233" y="3162"/>
                </a:lnTo>
                <a:lnTo>
                  <a:pt x="6243" y="3172"/>
                </a:lnTo>
                <a:lnTo>
                  <a:pt x="6253" y="3185"/>
                </a:lnTo>
                <a:lnTo>
                  <a:pt x="6263" y="3201"/>
                </a:lnTo>
                <a:lnTo>
                  <a:pt x="6272" y="3218"/>
                </a:lnTo>
                <a:lnTo>
                  <a:pt x="6279" y="3238"/>
                </a:lnTo>
                <a:lnTo>
                  <a:pt x="6736" y="4382"/>
                </a:lnTo>
                <a:lnTo>
                  <a:pt x="6706" y="4541"/>
                </a:lnTo>
                <a:lnTo>
                  <a:pt x="5967" y="4499"/>
                </a:lnTo>
                <a:close/>
                <a:moveTo>
                  <a:pt x="769" y="4499"/>
                </a:moveTo>
                <a:lnTo>
                  <a:pt x="30" y="4541"/>
                </a:lnTo>
                <a:lnTo>
                  <a:pt x="0" y="4382"/>
                </a:lnTo>
                <a:lnTo>
                  <a:pt x="457" y="3238"/>
                </a:lnTo>
                <a:lnTo>
                  <a:pt x="466" y="3218"/>
                </a:lnTo>
                <a:lnTo>
                  <a:pt x="474" y="3201"/>
                </a:lnTo>
                <a:lnTo>
                  <a:pt x="483" y="3185"/>
                </a:lnTo>
                <a:lnTo>
                  <a:pt x="493" y="3172"/>
                </a:lnTo>
                <a:lnTo>
                  <a:pt x="505" y="3162"/>
                </a:lnTo>
                <a:lnTo>
                  <a:pt x="517" y="3153"/>
                </a:lnTo>
                <a:lnTo>
                  <a:pt x="529" y="3148"/>
                </a:lnTo>
                <a:lnTo>
                  <a:pt x="542" y="3143"/>
                </a:lnTo>
                <a:lnTo>
                  <a:pt x="557" y="3141"/>
                </a:lnTo>
                <a:lnTo>
                  <a:pt x="573" y="3141"/>
                </a:lnTo>
                <a:lnTo>
                  <a:pt x="588" y="3141"/>
                </a:lnTo>
                <a:lnTo>
                  <a:pt x="605" y="3145"/>
                </a:lnTo>
                <a:lnTo>
                  <a:pt x="622" y="3150"/>
                </a:lnTo>
                <a:lnTo>
                  <a:pt x="640" y="3155"/>
                </a:lnTo>
                <a:lnTo>
                  <a:pt x="679" y="3172"/>
                </a:lnTo>
                <a:lnTo>
                  <a:pt x="862" y="3289"/>
                </a:lnTo>
                <a:lnTo>
                  <a:pt x="874" y="3296"/>
                </a:lnTo>
                <a:lnTo>
                  <a:pt x="884" y="3304"/>
                </a:lnTo>
                <a:lnTo>
                  <a:pt x="905" y="3326"/>
                </a:lnTo>
                <a:lnTo>
                  <a:pt x="925" y="3350"/>
                </a:lnTo>
                <a:lnTo>
                  <a:pt x="942" y="3379"/>
                </a:lnTo>
                <a:lnTo>
                  <a:pt x="949" y="3394"/>
                </a:lnTo>
                <a:lnTo>
                  <a:pt x="956" y="3409"/>
                </a:lnTo>
                <a:lnTo>
                  <a:pt x="961" y="3424"/>
                </a:lnTo>
                <a:lnTo>
                  <a:pt x="964" y="3441"/>
                </a:lnTo>
                <a:lnTo>
                  <a:pt x="967" y="3457"/>
                </a:lnTo>
                <a:lnTo>
                  <a:pt x="967" y="3474"/>
                </a:lnTo>
                <a:lnTo>
                  <a:pt x="967" y="3489"/>
                </a:lnTo>
                <a:lnTo>
                  <a:pt x="966" y="3506"/>
                </a:lnTo>
                <a:lnTo>
                  <a:pt x="942" y="3628"/>
                </a:lnTo>
                <a:lnTo>
                  <a:pt x="1084" y="3838"/>
                </a:lnTo>
                <a:lnTo>
                  <a:pt x="1416" y="3912"/>
                </a:lnTo>
                <a:lnTo>
                  <a:pt x="1416" y="4182"/>
                </a:lnTo>
                <a:lnTo>
                  <a:pt x="856" y="4182"/>
                </a:lnTo>
                <a:lnTo>
                  <a:pt x="532" y="3828"/>
                </a:lnTo>
                <a:lnTo>
                  <a:pt x="481" y="3873"/>
                </a:lnTo>
                <a:lnTo>
                  <a:pt x="820" y="4243"/>
                </a:lnTo>
                <a:lnTo>
                  <a:pt x="769" y="4499"/>
                </a:lnTo>
                <a:close/>
                <a:moveTo>
                  <a:pt x="5967" y="2096"/>
                </a:moveTo>
                <a:lnTo>
                  <a:pt x="5918" y="1840"/>
                </a:lnTo>
                <a:lnTo>
                  <a:pt x="6255" y="1471"/>
                </a:lnTo>
                <a:lnTo>
                  <a:pt x="6206" y="1425"/>
                </a:lnTo>
                <a:lnTo>
                  <a:pt x="5880" y="1779"/>
                </a:lnTo>
                <a:lnTo>
                  <a:pt x="5320" y="1779"/>
                </a:lnTo>
                <a:lnTo>
                  <a:pt x="5320" y="1510"/>
                </a:lnTo>
                <a:lnTo>
                  <a:pt x="5653" y="1433"/>
                </a:lnTo>
                <a:lnTo>
                  <a:pt x="5796" y="1225"/>
                </a:lnTo>
                <a:lnTo>
                  <a:pt x="5772" y="1101"/>
                </a:lnTo>
                <a:lnTo>
                  <a:pt x="5770" y="1086"/>
                </a:lnTo>
                <a:lnTo>
                  <a:pt x="5769" y="1071"/>
                </a:lnTo>
                <a:lnTo>
                  <a:pt x="5770" y="1054"/>
                </a:lnTo>
                <a:lnTo>
                  <a:pt x="5772" y="1037"/>
                </a:lnTo>
                <a:lnTo>
                  <a:pt x="5777" y="1022"/>
                </a:lnTo>
                <a:lnTo>
                  <a:pt x="5782" y="1006"/>
                </a:lnTo>
                <a:lnTo>
                  <a:pt x="5789" y="991"/>
                </a:lnTo>
                <a:lnTo>
                  <a:pt x="5796" y="976"/>
                </a:lnTo>
                <a:lnTo>
                  <a:pt x="5813" y="947"/>
                </a:lnTo>
                <a:lnTo>
                  <a:pt x="5831" y="922"/>
                </a:lnTo>
                <a:lnTo>
                  <a:pt x="5853" y="901"/>
                </a:lnTo>
                <a:lnTo>
                  <a:pt x="5864" y="893"/>
                </a:lnTo>
                <a:lnTo>
                  <a:pt x="5874" y="884"/>
                </a:lnTo>
                <a:lnTo>
                  <a:pt x="6057" y="769"/>
                </a:lnTo>
                <a:lnTo>
                  <a:pt x="6096" y="752"/>
                </a:lnTo>
                <a:lnTo>
                  <a:pt x="6114" y="747"/>
                </a:lnTo>
                <a:lnTo>
                  <a:pt x="6131" y="742"/>
                </a:lnTo>
                <a:lnTo>
                  <a:pt x="6148" y="739"/>
                </a:lnTo>
                <a:lnTo>
                  <a:pt x="6165" y="737"/>
                </a:lnTo>
                <a:lnTo>
                  <a:pt x="6180" y="739"/>
                </a:lnTo>
                <a:lnTo>
                  <a:pt x="6194" y="740"/>
                </a:lnTo>
                <a:lnTo>
                  <a:pt x="6207" y="744"/>
                </a:lnTo>
                <a:lnTo>
                  <a:pt x="6221" y="751"/>
                </a:lnTo>
                <a:lnTo>
                  <a:pt x="6233" y="759"/>
                </a:lnTo>
                <a:lnTo>
                  <a:pt x="6243" y="769"/>
                </a:lnTo>
                <a:lnTo>
                  <a:pt x="6253" y="783"/>
                </a:lnTo>
                <a:lnTo>
                  <a:pt x="6263" y="798"/>
                </a:lnTo>
                <a:lnTo>
                  <a:pt x="6272" y="815"/>
                </a:lnTo>
                <a:lnTo>
                  <a:pt x="6279" y="835"/>
                </a:lnTo>
                <a:lnTo>
                  <a:pt x="6736" y="1977"/>
                </a:lnTo>
                <a:lnTo>
                  <a:pt x="6706" y="2138"/>
                </a:lnTo>
                <a:lnTo>
                  <a:pt x="5967" y="2096"/>
                </a:lnTo>
                <a:close/>
                <a:moveTo>
                  <a:pt x="769" y="2096"/>
                </a:moveTo>
                <a:lnTo>
                  <a:pt x="30" y="2138"/>
                </a:lnTo>
                <a:lnTo>
                  <a:pt x="0" y="1977"/>
                </a:lnTo>
                <a:lnTo>
                  <a:pt x="457" y="835"/>
                </a:lnTo>
                <a:lnTo>
                  <a:pt x="464" y="815"/>
                </a:lnTo>
                <a:lnTo>
                  <a:pt x="474" y="798"/>
                </a:lnTo>
                <a:lnTo>
                  <a:pt x="483" y="783"/>
                </a:lnTo>
                <a:lnTo>
                  <a:pt x="493" y="769"/>
                </a:lnTo>
                <a:lnTo>
                  <a:pt x="505" y="759"/>
                </a:lnTo>
                <a:lnTo>
                  <a:pt x="517" y="751"/>
                </a:lnTo>
                <a:lnTo>
                  <a:pt x="529" y="744"/>
                </a:lnTo>
                <a:lnTo>
                  <a:pt x="542" y="740"/>
                </a:lnTo>
                <a:lnTo>
                  <a:pt x="557" y="739"/>
                </a:lnTo>
                <a:lnTo>
                  <a:pt x="573" y="737"/>
                </a:lnTo>
                <a:lnTo>
                  <a:pt x="588" y="739"/>
                </a:lnTo>
                <a:lnTo>
                  <a:pt x="605" y="742"/>
                </a:lnTo>
                <a:lnTo>
                  <a:pt x="622" y="747"/>
                </a:lnTo>
                <a:lnTo>
                  <a:pt x="640" y="752"/>
                </a:lnTo>
                <a:lnTo>
                  <a:pt x="679" y="769"/>
                </a:lnTo>
                <a:lnTo>
                  <a:pt x="862" y="884"/>
                </a:lnTo>
                <a:lnTo>
                  <a:pt x="874" y="893"/>
                </a:lnTo>
                <a:lnTo>
                  <a:pt x="884" y="901"/>
                </a:lnTo>
                <a:lnTo>
                  <a:pt x="905" y="922"/>
                </a:lnTo>
                <a:lnTo>
                  <a:pt x="925" y="947"/>
                </a:lnTo>
                <a:lnTo>
                  <a:pt x="942" y="976"/>
                </a:lnTo>
                <a:lnTo>
                  <a:pt x="949" y="991"/>
                </a:lnTo>
                <a:lnTo>
                  <a:pt x="956" y="1006"/>
                </a:lnTo>
                <a:lnTo>
                  <a:pt x="961" y="1022"/>
                </a:lnTo>
                <a:lnTo>
                  <a:pt x="964" y="1039"/>
                </a:lnTo>
                <a:lnTo>
                  <a:pt x="967" y="1054"/>
                </a:lnTo>
                <a:lnTo>
                  <a:pt x="967" y="1071"/>
                </a:lnTo>
                <a:lnTo>
                  <a:pt x="967" y="1086"/>
                </a:lnTo>
                <a:lnTo>
                  <a:pt x="966" y="1101"/>
                </a:lnTo>
                <a:lnTo>
                  <a:pt x="940" y="1225"/>
                </a:lnTo>
                <a:lnTo>
                  <a:pt x="1084" y="1433"/>
                </a:lnTo>
                <a:lnTo>
                  <a:pt x="1416" y="1510"/>
                </a:lnTo>
                <a:lnTo>
                  <a:pt x="1416" y="1779"/>
                </a:lnTo>
                <a:lnTo>
                  <a:pt x="856" y="1779"/>
                </a:lnTo>
                <a:lnTo>
                  <a:pt x="532" y="1425"/>
                </a:lnTo>
                <a:lnTo>
                  <a:pt x="481" y="1471"/>
                </a:lnTo>
                <a:lnTo>
                  <a:pt x="820" y="1840"/>
                </a:lnTo>
                <a:lnTo>
                  <a:pt x="769" y="2096"/>
                </a:lnTo>
                <a:close/>
                <a:moveTo>
                  <a:pt x="2555" y="293"/>
                </a:moveTo>
                <a:lnTo>
                  <a:pt x="2555" y="293"/>
                </a:lnTo>
                <a:lnTo>
                  <a:pt x="2550" y="373"/>
                </a:lnTo>
                <a:lnTo>
                  <a:pt x="2545" y="452"/>
                </a:lnTo>
                <a:lnTo>
                  <a:pt x="2540" y="530"/>
                </a:lnTo>
                <a:lnTo>
                  <a:pt x="2531" y="610"/>
                </a:lnTo>
                <a:lnTo>
                  <a:pt x="2523" y="688"/>
                </a:lnTo>
                <a:lnTo>
                  <a:pt x="2512" y="766"/>
                </a:lnTo>
                <a:lnTo>
                  <a:pt x="2502" y="844"/>
                </a:lnTo>
                <a:lnTo>
                  <a:pt x="2490" y="922"/>
                </a:lnTo>
                <a:lnTo>
                  <a:pt x="2811" y="1745"/>
                </a:lnTo>
                <a:lnTo>
                  <a:pt x="2817" y="1760"/>
                </a:lnTo>
                <a:lnTo>
                  <a:pt x="2821" y="1776"/>
                </a:lnTo>
                <a:lnTo>
                  <a:pt x="2824" y="1791"/>
                </a:lnTo>
                <a:lnTo>
                  <a:pt x="2824" y="1808"/>
                </a:lnTo>
                <a:lnTo>
                  <a:pt x="2824" y="1823"/>
                </a:lnTo>
                <a:lnTo>
                  <a:pt x="2822" y="1838"/>
                </a:lnTo>
                <a:lnTo>
                  <a:pt x="2821" y="1854"/>
                </a:lnTo>
                <a:lnTo>
                  <a:pt x="2816" y="1867"/>
                </a:lnTo>
                <a:lnTo>
                  <a:pt x="2809" y="1881"/>
                </a:lnTo>
                <a:lnTo>
                  <a:pt x="2800" y="1893"/>
                </a:lnTo>
                <a:lnTo>
                  <a:pt x="2790" y="1903"/>
                </a:lnTo>
                <a:lnTo>
                  <a:pt x="2778" y="1913"/>
                </a:lnTo>
                <a:lnTo>
                  <a:pt x="2765" y="1920"/>
                </a:lnTo>
                <a:lnTo>
                  <a:pt x="2748" y="1927"/>
                </a:lnTo>
                <a:lnTo>
                  <a:pt x="2729" y="1930"/>
                </a:lnTo>
                <a:lnTo>
                  <a:pt x="2709" y="1930"/>
                </a:lnTo>
                <a:lnTo>
                  <a:pt x="1040" y="1930"/>
                </a:lnTo>
                <a:lnTo>
                  <a:pt x="1040" y="1862"/>
                </a:lnTo>
                <a:lnTo>
                  <a:pt x="2709" y="1862"/>
                </a:lnTo>
                <a:lnTo>
                  <a:pt x="2724" y="1862"/>
                </a:lnTo>
                <a:lnTo>
                  <a:pt x="2736" y="1857"/>
                </a:lnTo>
                <a:lnTo>
                  <a:pt x="2746" y="1850"/>
                </a:lnTo>
                <a:lnTo>
                  <a:pt x="2750" y="1845"/>
                </a:lnTo>
                <a:lnTo>
                  <a:pt x="2753" y="1840"/>
                </a:lnTo>
                <a:lnTo>
                  <a:pt x="2756" y="1833"/>
                </a:lnTo>
                <a:lnTo>
                  <a:pt x="2758" y="1827"/>
                </a:lnTo>
                <a:lnTo>
                  <a:pt x="2758" y="1811"/>
                </a:lnTo>
                <a:lnTo>
                  <a:pt x="2755" y="1793"/>
                </a:lnTo>
                <a:lnTo>
                  <a:pt x="2748" y="1769"/>
                </a:lnTo>
                <a:lnTo>
                  <a:pt x="2467" y="1049"/>
                </a:lnTo>
                <a:lnTo>
                  <a:pt x="2453" y="1120"/>
                </a:lnTo>
                <a:lnTo>
                  <a:pt x="2438" y="1191"/>
                </a:lnTo>
                <a:lnTo>
                  <a:pt x="2421" y="1262"/>
                </a:lnTo>
                <a:lnTo>
                  <a:pt x="2404" y="1333"/>
                </a:lnTo>
                <a:lnTo>
                  <a:pt x="2387" y="1405"/>
                </a:lnTo>
                <a:lnTo>
                  <a:pt x="2367" y="1474"/>
                </a:lnTo>
                <a:lnTo>
                  <a:pt x="2326" y="1615"/>
                </a:lnTo>
                <a:lnTo>
                  <a:pt x="2230" y="1596"/>
                </a:lnTo>
                <a:lnTo>
                  <a:pt x="2458" y="274"/>
                </a:lnTo>
                <a:lnTo>
                  <a:pt x="2555" y="293"/>
                </a:lnTo>
                <a:close/>
                <a:moveTo>
                  <a:pt x="1062" y="178"/>
                </a:moveTo>
                <a:lnTo>
                  <a:pt x="1062" y="178"/>
                </a:lnTo>
                <a:lnTo>
                  <a:pt x="1076" y="210"/>
                </a:lnTo>
                <a:lnTo>
                  <a:pt x="1086" y="242"/>
                </a:lnTo>
                <a:lnTo>
                  <a:pt x="1089" y="261"/>
                </a:lnTo>
                <a:lnTo>
                  <a:pt x="1091" y="278"/>
                </a:lnTo>
                <a:lnTo>
                  <a:pt x="1093" y="297"/>
                </a:lnTo>
                <a:lnTo>
                  <a:pt x="1093" y="313"/>
                </a:lnTo>
                <a:lnTo>
                  <a:pt x="1093" y="391"/>
                </a:lnTo>
                <a:lnTo>
                  <a:pt x="1093" y="420"/>
                </a:lnTo>
                <a:lnTo>
                  <a:pt x="1088" y="449"/>
                </a:lnTo>
                <a:lnTo>
                  <a:pt x="1081" y="476"/>
                </a:lnTo>
                <a:lnTo>
                  <a:pt x="1072" y="503"/>
                </a:lnTo>
                <a:lnTo>
                  <a:pt x="1062" y="529"/>
                </a:lnTo>
                <a:lnTo>
                  <a:pt x="1049" y="552"/>
                </a:lnTo>
                <a:lnTo>
                  <a:pt x="1033" y="574"/>
                </a:lnTo>
                <a:lnTo>
                  <a:pt x="1016" y="595"/>
                </a:lnTo>
                <a:lnTo>
                  <a:pt x="998" y="613"/>
                </a:lnTo>
                <a:lnTo>
                  <a:pt x="978" y="630"/>
                </a:lnTo>
                <a:lnTo>
                  <a:pt x="957" y="646"/>
                </a:lnTo>
                <a:lnTo>
                  <a:pt x="933" y="657"/>
                </a:lnTo>
                <a:lnTo>
                  <a:pt x="910" y="668"/>
                </a:lnTo>
                <a:lnTo>
                  <a:pt x="883" y="674"/>
                </a:lnTo>
                <a:lnTo>
                  <a:pt x="857" y="679"/>
                </a:lnTo>
                <a:lnTo>
                  <a:pt x="830" y="681"/>
                </a:lnTo>
                <a:lnTo>
                  <a:pt x="803" y="679"/>
                </a:lnTo>
                <a:lnTo>
                  <a:pt x="778" y="676"/>
                </a:lnTo>
                <a:lnTo>
                  <a:pt x="754" y="669"/>
                </a:lnTo>
                <a:lnTo>
                  <a:pt x="730" y="661"/>
                </a:lnTo>
                <a:lnTo>
                  <a:pt x="708" y="649"/>
                </a:lnTo>
                <a:lnTo>
                  <a:pt x="688" y="635"/>
                </a:lnTo>
                <a:lnTo>
                  <a:pt x="669" y="620"/>
                </a:lnTo>
                <a:lnTo>
                  <a:pt x="651" y="603"/>
                </a:lnTo>
                <a:lnTo>
                  <a:pt x="634" y="585"/>
                </a:lnTo>
                <a:lnTo>
                  <a:pt x="618" y="566"/>
                </a:lnTo>
                <a:lnTo>
                  <a:pt x="605" y="544"/>
                </a:lnTo>
                <a:lnTo>
                  <a:pt x="593" y="520"/>
                </a:lnTo>
                <a:lnTo>
                  <a:pt x="583" y="496"/>
                </a:lnTo>
                <a:lnTo>
                  <a:pt x="576" y="471"/>
                </a:lnTo>
                <a:lnTo>
                  <a:pt x="571" y="446"/>
                </a:lnTo>
                <a:lnTo>
                  <a:pt x="566" y="419"/>
                </a:lnTo>
                <a:lnTo>
                  <a:pt x="537" y="268"/>
                </a:lnTo>
                <a:lnTo>
                  <a:pt x="535" y="254"/>
                </a:lnTo>
                <a:lnTo>
                  <a:pt x="534" y="239"/>
                </a:lnTo>
                <a:lnTo>
                  <a:pt x="534" y="213"/>
                </a:lnTo>
                <a:lnTo>
                  <a:pt x="539" y="188"/>
                </a:lnTo>
                <a:lnTo>
                  <a:pt x="546" y="164"/>
                </a:lnTo>
                <a:lnTo>
                  <a:pt x="557" y="142"/>
                </a:lnTo>
                <a:lnTo>
                  <a:pt x="569" y="122"/>
                </a:lnTo>
                <a:lnTo>
                  <a:pt x="584" y="103"/>
                </a:lnTo>
                <a:lnTo>
                  <a:pt x="601" y="86"/>
                </a:lnTo>
                <a:lnTo>
                  <a:pt x="620" y="71"/>
                </a:lnTo>
                <a:lnTo>
                  <a:pt x="639" y="58"/>
                </a:lnTo>
                <a:lnTo>
                  <a:pt x="657" y="47"/>
                </a:lnTo>
                <a:lnTo>
                  <a:pt x="676" y="39"/>
                </a:lnTo>
                <a:lnTo>
                  <a:pt x="695" y="32"/>
                </a:lnTo>
                <a:lnTo>
                  <a:pt x="712" y="27"/>
                </a:lnTo>
                <a:lnTo>
                  <a:pt x="728" y="25"/>
                </a:lnTo>
                <a:lnTo>
                  <a:pt x="742" y="25"/>
                </a:lnTo>
                <a:lnTo>
                  <a:pt x="759" y="19"/>
                </a:lnTo>
                <a:lnTo>
                  <a:pt x="776" y="14"/>
                </a:lnTo>
                <a:lnTo>
                  <a:pt x="793" y="8"/>
                </a:lnTo>
                <a:lnTo>
                  <a:pt x="808" y="5"/>
                </a:lnTo>
                <a:lnTo>
                  <a:pt x="839" y="0"/>
                </a:lnTo>
                <a:lnTo>
                  <a:pt x="869" y="0"/>
                </a:lnTo>
                <a:lnTo>
                  <a:pt x="896" y="3"/>
                </a:lnTo>
                <a:lnTo>
                  <a:pt x="923" y="10"/>
                </a:lnTo>
                <a:lnTo>
                  <a:pt x="949" y="19"/>
                </a:lnTo>
                <a:lnTo>
                  <a:pt x="972" y="29"/>
                </a:lnTo>
                <a:lnTo>
                  <a:pt x="994" y="41"/>
                </a:lnTo>
                <a:lnTo>
                  <a:pt x="1015" y="54"/>
                </a:lnTo>
                <a:lnTo>
                  <a:pt x="1033" y="68"/>
                </a:lnTo>
                <a:lnTo>
                  <a:pt x="1050" y="81"/>
                </a:lnTo>
                <a:lnTo>
                  <a:pt x="1077" y="105"/>
                </a:lnTo>
                <a:lnTo>
                  <a:pt x="1098" y="122"/>
                </a:lnTo>
                <a:lnTo>
                  <a:pt x="1062" y="178"/>
                </a:lnTo>
                <a:close/>
                <a:moveTo>
                  <a:pt x="635" y="419"/>
                </a:moveTo>
                <a:lnTo>
                  <a:pt x="635" y="419"/>
                </a:lnTo>
                <a:lnTo>
                  <a:pt x="639" y="441"/>
                </a:lnTo>
                <a:lnTo>
                  <a:pt x="642" y="459"/>
                </a:lnTo>
                <a:lnTo>
                  <a:pt x="649" y="478"/>
                </a:lnTo>
                <a:lnTo>
                  <a:pt x="657" y="496"/>
                </a:lnTo>
                <a:lnTo>
                  <a:pt x="666" y="513"/>
                </a:lnTo>
                <a:lnTo>
                  <a:pt x="676" y="530"/>
                </a:lnTo>
                <a:lnTo>
                  <a:pt x="688" y="544"/>
                </a:lnTo>
                <a:lnTo>
                  <a:pt x="700" y="557"/>
                </a:lnTo>
                <a:lnTo>
                  <a:pt x="713" y="569"/>
                </a:lnTo>
                <a:lnTo>
                  <a:pt x="728" y="581"/>
                </a:lnTo>
                <a:lnTo>
                  <a:pt x="744" y="590"/>
                </a:lnTo>
                <a:lnTo>
                  <a:pt x="759" y="598"/>
                </a:lnTo>
                <a:lnTo>
                  <a:pt x="776" y="605"/>
                </a:lnTo>
                <a:lnTo>
                  <a:pt x="793" y="608"/>
                </a:lnTo>
                <a:lnTo>
                  <a:pt x="812" y="612"/>
                </a:lnTo>
                <a:lnTo>
                  <a:pt x="830" y="613"/>
                </a:lnTo>
                <a:lnTo>
                  <a:pt x="849" y="612"/>
                </a:lnTo>
                <a:lnTo>
                  <a:pt x="867" y="608"/>
                </a:lnTo>
                <a:lnTo>
                  <a:pt x="886" y="603"/>
                </a:lnTo>
                <a:lnTo>
                  <a:pt x="905" y="596"/>
                </a:lnTo>
                <a:lnTo>
                  <a:pt x="922" y="586"/>
                </a:lnTo>
                <a:lnTo>
                  <a:pt x="937" y="576"/>
                </a:lnTo>
                <a:lnTo>
                  <a:pt x="952" y="564"/>
                </a:lnTo>
                <a:lnTo>
                  <a:pt x="967" y="549"/>
                </a:lnTo>
                <a:lnTo>
                  <a:pt x="979" y="534"/>
                </a:lnTo>
                <a:lnTo>
                  <a:pt x="991" y="517"/>
                </a:lnTo>
                <a:lnTo>
                  <a:pt x="1001" y="498"/>
                </a:lnTo>
                <a:lnTo>
                  <a:pt x="1010" y="480"/>
                </a:lnTo>
                <a:lnTo>
                  <a:pt x="1016" y="459"/>
                </a:lnTo>
                <a:lnTo>
                  <a:pt x="1022" y="437"/>
                </a:lnTo>
                <a:lnTo>
                  <a:pt x="1025" y="415"/>
                </a:lnTo>
                <a:lnTo>
                  <a:pt x="1025" y="391"/>
                </a:lnTo>
                <a:lnTo>
                  <a:pt x="1025" y="313"/>
                </a:lnTo>
                <a:lnTo>
                  <a:pt x="1025" y="288"/>
                </a:lnTo>
                <a:lnTo>
                  <a:pt x="1020" y="263"/>
                </a:lnTo>
                <a:lnTo>
                  <a:pt x="1006" y="280"/>
                </a:lnTo>
                <a:lnTo>
                  <a:pt x="989" y="293"/>
                </a:lnTo>
                <a:lnTo>
                  <a:pt x="972" y="305"/>
                </a:lnTo>
                <a:lnTo>
                  <a:pt x="950" y="315"/>
                </a:lnTo>
                <a:lnTo>
                  <a:pt x="927" y="324"/>
                </a:lnTo>
                <a:lnTo>
                  <a:pt x="901" y="330"/>
                </a:lnTo>
                <a:lnTo>
                  <a:pt x="871" y="337"/>
                </a:lnTo>
                <a:lnTo>
                  <a:pt x="837" y="342"/>
                </a:lnTo>
                <a:lnTo>
                  <a:pt x="825" y="396"/>
                </a:lnTo>
                <a:lnTo>
                  <a:pt x="764" y="400"/>
                </a:lnTo>
                <a:lnTo>
                  <a:pt x="764" y="364"/>
                </a:lnTo>
                <a:lnTo>
                  <a:pt x="762" y="349"/>
                </a:lnTo>
                <a:lnTo>
                  <a:pt x="759" y="335"/>
                </a:lnTo>
                <a:lnTo>
                  <a:pt x="752" y="324"/>
                </a:lnTo>
                <a:lnTo>
                  <a:pt x="745" y="313"/>
                </a:lnTo>
                <a:lnTo>
                  <a:pt x="735" y="305"/>
                </a:lnTo>
                <a:lnTo>
                  <a:pt x="725" y="298"/>
                </a:lnTo>
                <a:lnTo>
                  <a:pt x="712" y="293"/>
                </a:lnTo>
                <a:lnTo>
                  <a:pt x="700" y="291"/>
                </a:lnTo>
                <a:lnTo>
                  <a:pt x="686" y="293"/>
                </a:lnTo>
                <a:lnTo>
                  <a:pt x="674" y="298"/>
                </a:lnTo>
                <a:lnTo>
                  <a:pt x="662" y="305"/>
                </a:lnTo>
                <a:lnTo>
                  <a:pt x="654" y="313"/>
                </a:lnTo>
                <a:lnTo>
                  <a:pt x="645" y="324"/>
                </a:lnTo>
                <a:lnTo>
                  <a:pt x="640" y="335"/>
                </a:lnTo>
                <a:lnTo>
                  <a:pt x="635" y="349"/>
                </a:lnTo>
                <a:lnTo>
                  <a:pt x="635" y="364"/>
                </a:lnTo>
                <a:lnTo>
                  <a:pt x="635" y="413"/>
                </a:lnTo>
                <a:lnTo>
                  <a:pt x="635" y="419"/>
                </a:lnTo>
                <a:close/>
                <a:moveTo>
                  <a:pt x="1991" y="1699"/>
                </a:moveTo>
                <a:lnTo>
                  <a:pt x="1991" y="1699"/>
                </a:lnTo>
                <a:lnTo>
                  <a:pt x="1994" y="1701"/>
                </a:lnTo>
                <a:lnTo>
                  <a:pt x="1999" y="1701"/>
                </a:lnTo>
                <a:lnTo>
                  <a:pt x="2001" y="1699"/>
                </a:lnTo>
                <a:lnTo>
                  <a:pt x="2003" y="1698"/>
                </a:lnTo>
                <a:lnTo>
                  <a:pt x="2004" y="1694"/>
                </a:lnTo>
                <a:lnTo>
                  <a:pt x="2003" y="1691"/>
                </a:lnTo>
                <a:lnTo>
                  <a:pt x="2001" y="1689"/>
                </a:lnTo>
                <a:lnTo>
                  <a:pt x="1999" y="1686"/>
                </a:lnTo>
                <a:lnTo>
                  <a:pt x="1864" y="1596"/>
                </a:lnTo>
                <a:lnTo>
                  <a:pt x="1843" y="1584"/>
                </a:lnTo>
                <a:lnTo>
                  <a:pt x="1825" y="1577"/>
                </a:lnTo>
                <a:lnTo>
                  <a:pt x="1804" y="1572"/>
                </a:lnTo>
                <a:lnTo>
                  <a:pt x="1784" y="1571"/>
                </a:lnTo>
                <a:lnTo>
                  <a:pt x="1465" y="1574"/>
                </a:lnTo>
                <a:lnTo>
                  <a:pt x="1465" y="1506"/>
                </a:lnTo>
                <a:lnTo>
                  <a:pt x="1782" y="1506"/>
                </a:lnTo>
                <a:lnTo>
                  <a:pt x="1811" y="1506"/>
                </a:lnTo>
                <a:lnTo>
                  <a:pt x="1825" y="1508"/>
                </a:lnTo>
                <a:lnTo>
                  <a:pt x="1838" y="1511"/>
                </a:lnTo>
                <a:lnTo>
                  <a:pt x="1852" y="1515"/>
                </a:lnTo>
                <a:lnTo>
                  <a:pt x="1864" y="1520"/>
                </a:lnTo>
                <a:lnTo>
                  <a:pt x="1875" y="1525"/>
                </a:lnTo>
                <a:lnTo>
                  <a:pt x="1887" y="1533"/>
                </a:lnTo>
                <a:lnTo>
                  <a:pt x="2036" y="1652"/>
                </a:lnTo>
                <a:lnTo>
                  <a:pt x="2045" y="1662"/>
                </a:lnTo>
                <a:lnTo>
                  <a:pt x="2053" y="1671"/>
                </a:lnTo>
                <a:lnTo>
                  <a:pt x="2058" y="1681"/>
                </a:lnTo>
                <a:lnTo>
                  <a:pt x="2062" y="1691"/>
                </a:lnTo>
                <a:lnTo>
                  <a:pt x="2065" y="1699"/>
                </a:lnTo>
                <a:lnTo>
                  <a:pt x="2065" y="1710"/>
                </a:lnTo>
                <a:lnTo>
                  <a:pt x="2063" y="1718"/>
                </a:lnTo>
                <a:lnTo>
                  <a:pt x="2062" y="1727"/>
                </a:lnTo>
                <a:lnTo>
                  <a:pt x="2058" y="1733"/>
                </a:lnTo>
                <a:lnTo>
                  <a:pt x="2053" y="1740"/>
                </a:lnTo>
                <a:lnTo>
                  <a:pt x="2048" y="1747"/>
                </a:lnTo>
                <a:lnTo>
                  <a:pt x="2041" y="1750"/>
                </a:lnTo>
                <a:lnTo>
                  <a:pt x="2035" y="1754"/>
                </a:lnTo>
                <a:lnTo>
                  <a:pt x="2026" y="1757"/>
                </a:lnTo>
                <a:lnTo>
                  <a:pt x="2018" y="1757"/>
                </a:lnTo>
                <a:lnTo>
                  <a:pt x="2008" y="1755"/>
                </a:lnTo>
                <a:lnTo>
                  <a:pt x="1962" y="1744"/>
                </a:lnTo>
                <a:lnTo>
                  <a:pt x="1962" y="1786"/>
                </a:lnTo>
                <a:lnTo>
                  <a:pt x="1586" y="1786"/>
                </a:lnTo>
                <a:lnTo>
                  <a:pt x="1586" y="1767"/>
                </a:lnTo>
                <a:lnTo>
                  <a:pt x="1537" y="1779"/>
                </a:lnTo>
                <a:lnTo>
                  <a:pt x="1535" y="1710"/>
                </a:lnTo>
                <a:lnTo>
                  <a:pt x="1833" y="1642"/>
                </a:lnTo>
                <a:lnTo>
                  <a:pt x="1991" y="1699"/>
                </a:lnTo>
                <a:close/>
                <a:moveTo>
                  <a:pt x="1062" y="2581"/>
                </a:moveTo>
                <a:lnTo>
                  <a:pt x="1062" y="2581"/>
                </a:lnTo>
                <a:lnTo>
                  <a:pt x="1076" y="2613"/>
                </a:lnTo>
                <a:lnTo>
                  <a:pt x="1086" y="2647"/>
                </a:lnTo>
                <a:lnTo>
                  <a:pt x="1089" y="2664"/>
                </a:lnTo>
                <a:lnTo>
                  <a:pt x="1091" y="2681"/>
                </a:lnTo>
                <a:lnTo>
                  <a:pt x="1093" y="2699"/>
                </a:lnTo>
                <a:lnTo>
                  <a:pt x="1093" y="2718"/>
                </a:lnTo>
                <a:lnTo>
                  <a:pt x="1093" y="2796"/>
                </a:lnTo>
                <a:lnTo>
                  <a:pt x="1093" y="2825"/>
                </a:lnTo>
                <a:lnTo>
                  <a:pt x="1088" y="2852"/>
                </a:lnTo>
                <a:lnTo>
                  <a:pt x="1083" y="2879"/>
                </a:lnTo>
                <a:lnTo>
                  <a:pt x="1072" y="2906"/>
                </a:lnTo>
                <a:lnTo>
                  <a:pt x="1062" y="2931"/>
                </a:lnTo>
                <a:lnTo>
                  <a:pt x="1049" y="2955"/>
                </a:lnTo>
                <a:lnTo>
                  <a:pt x="1033" y="2977"/>
                </a:lnTo>
                <a:lnTo>
                  <a:pt x="1016" y="2997"/>
                </a:lnTo>
                <a:lnTo>
                  <a:pt x="998" y="3016"/>
                </a:lnTo>
                <a:lnTo>
                  <a:pt x="979" y="3033"/>
                </a:lnTo>
                <a:lnTo>
                  <a:pt x="957" y="3048"/>
                </a:lnTo>
                <a:lnTo>
                  <a:pt x="933" y="3060"/>
                </a:lnTo>
                <a:lnTo>
                  <a:pt x="910" y="3070"/>
                </a:lnTo>
                <a:lnTo>
                  <a:pt x="884" y="3077"/>
                </a:lnTo>
                <a:lnTo>
                  <a:pt x="857" y="3082"/>
                </a:lnTo>
                <a:lnTo>
                  <a:pt x="830" y="3084"/>
                </a:lnTo>
                <a:lnTo>
                  <a:pt x="810" y="3082"/>
                </a:lnTo>
                <a:lnTo>
                  <a:pt x="791" y="3080"/>
                </a:lnTo>
                <a:lnTo>
                  <a:pt x="773" y="3077"/>
                </a:lnTo>
                <a:lnTo>
                  <a:pt x="754" y="3072"/>
                </a:lnTo>
                <a:lnTo>
                  <a:pt x="735" y="3065"/>
                </a:lnTo>
                <a:lnTo>
                  <a:pt x="718" y="3057"/>
                </a:lnTo>
                <a:lnTo>
                  <a:pt x="703" y="3048"/>
                </a:lnTo>
                <a:lnTo>
                  <a:pt x="686" y="3038"/>
                </a:lnTo>
                <a:lnTo>
                  <a:pt x="673" y="3026"/>
                </a:lnTo>
                <a:lnTo>
                  <a:pt x="657" y="3014"/>
                </a:lnTo>
                <a:lnTo>
                  <a:pt x="644" y="3001"/>
                </a:lnTo>
                <a:lnTo>
                  <a:pt x="632" y="2987"/>
                </a:lnTo>
                <a:lnTo>
                  <a:pt x="620" y="2972"/>
                </a:lnTo>
                <a:lnTo>
                  <a:pt x="610" y="2955"/>
                </a:lnTo>
                <a:lnTo>
                  <a:pt x="601" y="2938"/>
                </a:lnTo>
                <a:lnTo>
                  <a:pt x="593" y="2921"/>
                </a:lnTo>
                <a:lnTo>
                  <a:pt x="578" y="2926"/>
                </a:lnTo>
                <a:lnTo>
                  <a:pt x="564" y="2928"/>
                </a:lnTo>
                <a:lnTo>
                  <a:pt x="549" y="2931"/>
                </a:lnTo>
                <a:lnTo>
                  <a:pt x="534" y="2931"/>
                </a:lnTo>
                <a:lnTo>
                  <a:pt x="517" y="2930"/>
                </a:lnTo>
                <a:lnTo>
                  <a:pt x="500" y="2928"/>
                </a:lnTo>
                <a:lnTo>
                  <a:pt x="483" y="2923"/>
                </a:lnTo>
                <a:lnTo>
                  <a:pt x="468" y="2918"/>
                </a:lnTo>
                <a:lnTo>
                  <a:pt x="452" y="2911"/>
                </a:lnTo>
                <a:lnTo>
                  <a:pt x="439" y="2903"/>
                </a:lnTo>
                <a:lnTo>
                  <a:pt x="425" y="2892"/>
                </a:lnTo>
                <a:lnTo>
                  <a:pt x="413" y="2882"/>
                </a:lnTo>
                <a:lnTo>
                  <a:pt x="403" y="2869"/>
                </a:lnTo>
                <a:lnTo>
                  <a:pt x="393" y="2857"/>
                </a:lnTo>
                <a:lnTo>
                  <a:pt x="385" y="2842"/>
                </a:lnTo>
                <a:lnTo>
                  <a:pt x="378" y="2828"/>
                </a:lnTo>
                <a:lnTo>
                  <a:pt x="371" y="2811"/>
                </a:lnTo>
                <a:lnTo>
                  <a:pt x="368" y="2796"/>
                </a:lnTo>
                <a:lnTo>
                  <a:pt x="364" y="2779"/>
                </a:lnTo>
                <a:lnTo>
                  <a:pt x="364" y="2760"/>
                </a:lnTo>
                <a:lnTo>
                  <a:pt x="364" y="2743"/>
                </a:lnTo>
                <a:lnTo>
                  <a:pt x="368" y="2726"/>
                </a:lnTo>
                <a:lnTo>
                  <a:pt x="371" y="2711"/>
                </a:lnTo>
                <a:lnTo>
                  <a:pt x="378" y="2694"/>
                </a:lnTo>
                <a:lnTo>
                  <a:pt x="385" y="2681"/>
                </a:lnTo>
                <a:lnTo>
                  <a:pt x="393" y="2665"/>
                </a:lnTo>
                <a:lnTo>
                  <a:pt x="403" y="2653"/>
                </a:lnTo>
                <a:lnTo>
                  <a:pt x="413" y="2640"/>
                </a:lnTo>
                <a:lnTo>
                  <a:pt x="425" y="2630"/>
                </a:lnTo>
                <a:lnTo>
                  <a:pt x="439" y="2620"/>
                </a:lnTo>
                <a:lnTo>
                  <a:pt x="452" y="2611"/>
                </a:lnTo>
                <a:lnTo>
                  <a:pt x="468" y="2604"/>
                </a:lnTo>
                <a:lnTo>
                  <a:pt x="483" y="2598"/>
                </a:lnTo>
                <a:lnTo>
                  <a:pt x="500" y="2594"/>
                </a:lnTo>
                <a:lnTo>
                  <a:pt x="517" y="2591"/>
                </a:lnTo>
                <a:lnTo>
                  <a:pt x="534" y="2591"/>
                </a:lnTo>
                <a:lnTo>
                  <a:pt x="539" y="2591"/>
                </a:lnTo>
                <a:lnTo>
                  <a:pt x="546" y="2570"/>
                </a:lnTo>
                <a:lnTo>
                  <a:pt x="554" y="2553"/>
                </a:lnTo>
                <a:lnTo>
                  <a:pt x="564" y="2535"/>
                </a:lnTo>
                <a:lnTo>
                  <a:pt x="574" y="2520"/>
                </a:lnTo>
                <a:lnTo>
                  <a:pt x="588" y="2504"/>
                </a:lnTo>
                <a:lnTo>
                  <a:pt x="601" y="2491"/>
                </a:lnTo>
                <a:lnTo>
                  <a:pt x="615" y="2479"/>
                </a:lnTo>
                <a:lnTo>
                  <a:pt x="630" y="2467"/>
                </a:lnTo>
                <a:lnTo>
                  <a:pt x="645" y="2457"/>
                </a:lnTo>
                <a:lnTo>
                  <a:pt x="661" y="2448"/>
                </a:lnTo>
                <a:lnTo>
                  <a:pt x="676" y="2442"/>
                </a:lnTo>
                <a:lnTo>
                  <a:pt x="691" y="2437"/>
                </a:lnTo>
                <a:lnTo>
                  <a:pt x="705" y="2431"/>
                </a:lnTo>
                <a:lnTo>
                  <a:pt x="718" y="2430"/>
                </a:lnTo>
                <a:lnTo>
                  <a:pt x="732" y="2428"/>
                </a:lnTo>
                <a:lnTo>
                  <a:pt x="742" y="2430"/>
                </a:lnTo>
                <a:lnTo>
                  <a:pt x="759" y="2421"/>
                </a:lnTo>
                <a:lnTo>
                  <a:pt x="776" y="2416"/>
                </a:lnTo>
                <a:lnTo>
                  <a:pt x="793" y="2411"/>
                </a:lnTo>
                <a:lnTo>
                  <a:pt x="808" y="2408"/>
                </a:lnTo>
                <a:lnTo>
                  <a:pt x="839" y="2404"/>
                </a:lnTo>
                <a:lnTo>
                  <a:pt x="869" y="2404"/>
                </a:lnTo>
                <a:lnTo>
                  <a:pt x="896" y="2408"/>
                </a:lnTo>
                <a:lnTo>
                  <a:pt x="923" y="2413"/>
                </a:lnTo>
                <a:lnTo>
                  <a:pt x="949" y="2421"/>
                </a:lnTo>
                <a:lnTo>
                  <a:pt x="972" y="2433"/>
                </a:lnTo>
                <a:lnTo>
                  <a:pt x="994" y="2445"/>
                </a:lnTo>
                <a:lnTo>
                  <a:pt x="1015" y="2457"/>
                </a:lnTo>
                <a:lnTo>
                  <a:pt x="1033" y="2470"/>
                </a:lnTo>
                <a:lnTo>
                  <a:pt x="1050" y="2484"/>
                </a:lnTo>
                <a:lnTo>
                  <a:pt x="1077" y="2508"/>
                </a:lnTo>
                <a:lnTo>
                  <a:pt x="1098" y="2526"/>
                </a:lnTo>
                <a:lnTo>
                  <a:pt x="1062" y="2581"/>
                </a:lnTo>
                <a:close/>
                <a:moveTo>
                  <a:pt x="647" y="2877"/>
                </a:moveTo>
                <a:lnTo>
                  <a:pt x="647" y="2877"/>
                </a:lnTo>
                <a:lnTo>
                  <a:pt x="654" y="2892"/>
                </a:lnTo>
                <a:lnTo>
                  <a:pt x="661" y="2908"/>
                </a:lnTo>
                <a:lnTo>
                  <a:pt x="668" y="2921"/>
                </a:lnTo>
                <a:lnTo>
                  <a:pt x="678" y="2933"/>
                </a:lnTo>
                <a:lnTo>
                  <a:pt x="686" y="2947"/>
                </a:lnTo>
                <a:lnTo>
                  <a:pt x="696" y="2957"/>
                </a:lnTo>
                <a:lnTo>
                  <a:pt x="708" y="2969"/>
                </a:lnTo>
                <a:lnTo>
                  <a:pt x="720" y="2977"/>
                </a:lnTo>
                <a:lnTo>
                  <a:pt x="732" y="2986"/>
                </a:lnTo>
                <a:lnTo>
                  <a:pt x="744" y="2994"/>
                </a:lnTo>
                <a:lnTo>
                  <a:pt x="757" y="3001"/>
                </a:lnTo>
                <a:lnTo>
                  <a:pt x="771" y="3006"/>
                </a:lnTo>
                <a:lnTo>
                  <a:pt x="786" y="3011"/>
                </a:lnTo>
                <a:lnTo>
                  <a:pt x="800" y="3013"/>
                </a:lnTo>
                <a:lnTo>
                  <a:pt x="815" y="3016"/>
                </a:lnTo>
                <a:lnTo>
                  <a:pt x="830" y="3016"/>
                </a:lnTo>
                <a:lnTo>
                  <a:pt x="849" y="3014"/>
                </a:lnTo>
                <a:lnTo>
                  <a:pt x="867" y="3011"/>
                </a:lnTo>
                <a:lnTo>
                  <a:pt x="886" y="3006"/>
                </a:lnTo>
                <a:lnTo>
                  <a:pt x="905" y="2999"/>
                </a:lnTo>
                <a:lnTo>
                  <a:pt x="922" y="2991"/>
                </a:lnTo>
                <a:lnTo>
                  <a:pt x="939" y="2979"/>
                </a:lnTo>
                <a:lnTo>
                  <a:pt x="952" y="2967"/>
                </a:lnTo>
                <a:lnTo>
                  <a:pt x="967" y="2953"/>
                </a:lnTo>
                <a:lnTo>
                  <a:pt x="979" y="2936"/>
                </a:lnTo>
                <a:lnTo>
                  <a:pt x="991" y="2919"/>
                </a:lnTo>
                <a:lnTo>
                  <a:pt x="1001" y="2903"/>
                </a:lnTo>
                <a:lnTo>
                  <a:pt x="1010" y="2882"/>
                </a:lnTo>
                <a:lnTo>
                  <a:pt x="1016" y="2862"/>
                </a:lnTo>
                <a:lnTo>
                  <a:pt x="1022" y="2840"/>
                </a:lnTo>
                <a:lnTo>
                  <a:pt x="1025" y="2818"/>
                </a:lnTo>
                <a:lnTo>
                  <a:pt x="1025" y="2796"/>
                </a:lnTo>
                <a:lnTo>
                  <a:pt x="1025" y="2718"/>
                </a:lnTo>
                <a:lnTo>
                  <a:pt x="1025" y="2699"/>
                </a:lnTo>
                <a:lnTo>
                  <a:pt x="1023" y="2681"/>
                </a:lnTo>
                <a:lnTo>
                  <a:pt x="1020" y="2664"/>
                </a:lnTo>
                <a:lnTo>
                  <a:pt x="1015" y="2647"/>
                </a:lnTo>
                <a:lnTo>
                  <a:pt x="1000" y="2660"/>
                </a:lnTo>
                <a:lnTo>
                  <a:pt x="981" y="2674"/>
                </a:lnTo>
                <a:lnTo>
                  <a:pt x="961" y="2686"/>
                </a:lnTo>
                <a:lnTo>
                  <a:pt x="940" y="2697"/>
                </a:lnTo>
                <a:lnTo>
                  <a:pt x="900" y="2718"/>
                </a:lnTo>
                <a:lnTo>
                  <a:pt x="857" y="2735"/>
                </a:lnTo>
                <a:lnTo>
                  <a:pt x="822" y="2748"/>
                </a:lnTo>
                <a:lnTo>
                  <a:pt x="791" y="2757"/>
                </a:lnTo>
                <a:lnTo>
                  <a:pt x="764" y="2765"/>
                </a:lnTo>
                <a:lnTo>
                  <a:pt x="752" y="2753"/>
                </a:lnTo>
                <a:lnTo>
                  <a:pt x="740" y="2743"/>
                </a:lnTo>
                <a:lnTo>
                  <a:pt x="734" y="2738"/>
                </a:lnTo>
                <a:lnTo>
                  <a:pt x="725" y="2736"/>
                </a:lnTo>
                <a:lnTo>
                  <a:pt x="717" y="2735"/>
                </a:lnTo>
                <a:lnTo>
                  <a:pt x="708" y="2733"/>
                </a:lnTo>
                <a:lnTo>
                  <a:pt x="696" y="2735"/>
                </a:lnTo>
                <a:lnTo>
                  <a:pt x="684" y="2740"/>
                </a:lnTo>
                <a:lnTo>
                  <a:pt x="673" y="2747"/>
                </a:lnTo>
                <a:lnTo>
                  <a:pt x="662" y="2755"/>
                </a:lnTo>
                <a:lnTo>
                  <a:pt x="656" y="2765"/>
                </a:lnTo>
                <a:lnTo>
                  <a:pt x="649" y="2777"/>
                </a:lnTo>
                <a:lnTo>
                  <a:pt x="645" y="2791"/>
                </a:lnTo>
                <a:lnTo>
                  <a:pt x="644" y="2806"/>
                </a:lnTo>
                <a:lnTo>
                  <a:pt x="644" y="2855"/>
                </a:lnTo>
                <a:lnTo>
                  <a:pt x="645" y="2867"/>
                </a:lnTo>
                <a:lnTo>
                  <a:pt x="647" y="2877"/>
                </a:lnTo>
                <a:close/>
                <a:moveTo>
                  <a:pt x="6028" y="329"/>
                </a:moveTo>
                <a:lnTo>
                  <a:pt x="6028" y="329"/>
                </a:lnTo>
                <a:lnTo>
                  <a:pt x="6019" y="330"/>
                </a:lnTo>
                <a:lnTo>
                  <a:pt x="6011" y="332"/>
                </a:lnTo>
                <a:lnTo>
                  <a:pt x="6002" y="334"/>
                </a:lnTo>
                <a:lnTo>
                  <a:pt x="5996" y="339"/>
                </a:lnTo>
                <a:lnTo>
                  <a:pt x="5989" y="344"/>
                </a:lnTo>
                <a:lnTo>
                  <a:pt x="5984" y="349"/>
                </a:lnTo>
                <a:lnTo>
                  <a:pt x="5974" y="363"/>
                </a:lnTo>
                <a:lnTo>
                  <a:pt x="5941" y="352"/>
                </a:lnTo>
                <a:lnTo>
                  <a:pt x="5911" y="342"/>
                </a:lnTo>
                <a:lnTo>
                  <a:pt x="5874" y="330"/>
                </a:lnTo>
                <a:lnTo>
                  <a:pt x="5835" y="313"/>
                </a:lnTo>
                <a:lnTo>
                  <a:pt x="5794" y="293"/>
                </a:lnTo>
                <a:lnTo>
                  <a:pt x="5774" y="281"/>
                </a:lnTo>
                <a:lnTo>
                  <a:pt x="5755" y="269"/>
                </a:lnTo>
                <a:lnTo>
                  <a:pt x="5738" y="258"/>
                </a:lnTo>
                <a:lnTo>
                  <a:pt x="5721" y="244"/>
                </a:lnTo>
                <a:lnTo>
                  <a:pt x="5718" y="261"/>
                </a:lnTo>
                <a:lnTo>
                  <a:pt x="5714" y="278"/>
                </a:lnTo>
                <a:lnTo>
                  <a:pt x="5713" y="297"/>
                </a:lnTo>
                <a:lnTo>
                  <a:pt x="5711" y="313"/>
                </a:lnTo>
                <a:lnTo>
                  <a:pt x="5711" y="391"/>
                </a:lnTo>
                <a:lnTo>
                  <a:pt x="5713" y="415"/>
                </a:lnTo>
                <a:lnTo>
                  <a:pt x="5716" y="437"/>
                </a:lnTo>
                <a:lnTo>
                  <a:pt x="5721" y="459"/>
                </a:lnTo>
                <a:lnTo>
                  <a:pt x="5728" y="480"/>
                </a:lnTo>
                <a:lnTo>
                  <a:pt x="5736" y="498"/>
                </a:lnTo>
                <a:lnTo>
                  <a:pt x="5745" y="517"/>
                </a:lnTo>
                <a:lnTo>
                  <a:pt x="5757" y="534"/>
                </a:lnTo>
                <a:lnTo>
                  <a:pt x="5770" y="549"/>
                </a:lnTo>
                <a:lnTo>
                  <a:pt x="5784" y="564"/>
                </a:lnTo>
                <a:lnTo>
                  <a:pt x="5799" y="576"/>
                </a:lnTo>
                <a:lnTo>
                  <a:pt x="5816" y="586"/>
                </a:lnTo>
                <a:lnTo>
                  <a:pt x="5833" y="596"/>
                </a:lnTo>
                <a:lnTo>
                  <a:pt x="5850" y="603"/>
                </a:lnTo>
                <a:lnTo>
                  <a:pt x="5869" y="608"/>
                </a:lnTo>
                <a:lnTo>
                  <a:pt x="5887" y="612"/>
                </a:lnTo>
                <a:lnTo>
                  <a:pt x="5908" y="613"/>
                </a:lnTo>
                <a:lnTo>
                  <a:pt x="5921" y="612"/>
                </a:lnTo>
                <a:lnTo>
                  <a:pt x="5936" y="610"/>
                </a:lnTo>
                <a:lnTo>
                  <a:pt x="5950" y="608"/>
                </a:lnTo>
                <a:lnTo>
                  <a:pt x="5963" y="603"/>
                </a:lnTo>
                <a:lnTo>
                  <a:pt x="5977" y="598"/>
                </a:lnTo>
                <a:lnTo>
                  <a:pt x="5991" y="591"/>
                </a:lnTo>
                <a:lnTo>
                  <a:pt x="6002" y="585"/>
                </a:lnTo>
                <a:lnTo>
                  <a:pt x="6014" y="576"/>
                </a:lnTo>
                <a:lnTo>
                  <a:pt x="6026" y="568"/>
                </a:lnTo>
                <a:lnTo>
                  <a:pt x="6036" y="557"/>
                </a:lnTo>
                <a:lnTo>
                  <a:pt x="6046" y="547"/>
                </a:lnTo>
                <a:lnTo>
                  <a:pt x="6057" y="535"/>
                </a:lnTo>
                <a:lnTo>
                  <a:pt x="6065" y="524"/>
                </a:lnTo>
                <a:lnTo>
                  <a:pt x="6074" y="510"/>
                </a:lnTo>
                <a:lnTo>
                  <a:pt x="6080" y="496"/>
                </a:lnTo>
                <a:lnTo>
                  <a:pt x="6087" y="483"/>
                </a:lnTo>
                <a:lnTo>
                  <a:pt x="6091" y="468"/>
                </a:lnTo>
                <a:lnTo>
                  <a:pt x="6092" y="451"/>
                </a:lnTo>
                <a:lnTo>
                  <a:pt x="6092" y="400"/>
                </a:lnTo>
                <a:lnTo>
                  <a:pt x="6091" y="386"/>
                </a:lnTo>
                <a:lnTo>
                  <a:pt x="6087" y="373"/>
                </a:lnTo>
                <a:lnTo>
                  <a:pt x="6080" y="361"/>
                </a:lnTo>
                <a:lnTo>
                  <a:pt x="6074" y="351"/>
                </a:lnTo>
                <a:lnTo>
                  <a:pt x="6063" y="342"/>
                </a:lnTo>
                <a:lnTo>
                  <a:pt x="6052" y="335"/>
                </a:lnTo>
                <a:lnTo>
                  <a:pt x="6040" y="330"/>
                </a:lnTo>
                <a:lnTo>
                  <a:pt x="6028" y="329"/>
                </a:lnTo>
                <a:close/>
                <a:moveTo>
                  <a:pt x="6145" y="518"/>
                </a:moveTo>
                <a:lnTo>
                  <a:pt x="6145" y="518"/>
                </a:lnTo>
                <a:lnTo>
                  <a:pt x="6136" y="535"/>
                </a:lnTo>
                <a:lnTo>
                  <a:pt x="6126" y="552"/>
                </a:lnTo>
                <a:lnTo>
                  <a:pt x="6116" y="568"/>
                </a:lnTo>
                <a:lnTo>
                  <a:pt x="6104" y="583"/>
                </a:lnTo>
                <a:lnTo>
                  <a:pt x="6092" y="598"/>
                </a:lnTo>
                <a:lnTo>
                  <a:pt x="6079" y="612"/>
                </a:lnTo>
                <a:lnTo>
                  <a:pt x="6065" y="624"/>
                </a:lnTo>
                <a:lnTo>
                  <a:pt x="6050" y="635"/>
                </a:lnTo>
                <a:lnTo>
                  <a:pt x="6035" y="646"/>
                </a:lnTo>
                <a:lnTo>
                  <a:pt x="6018" y="654"/>
                </a:lnTo>
                <a:lnTo>
                  <a:pt x="6001" y="663"/>
                </a:lnTo>
                <a:lnTo>
                  <a:pt x="5984" y="669"/>
                </a:lnTo>
                <a:lnTo>
                  <a:pt x="5965" y="674"/>
                </a:lnTo>
                <a:lnTo>
                  <a:pt x="5947" y="678"/>
                </a:lnTo>
                <a:lnTo>
                  <a:pt x="5928" y="679"/>
                </a:lnTo>
                <a:lnTo>
                  <a:pt x="5908" y="681"/>
                </a:lnTo>
                <a:lnTo>
                  <a:pt x="5880" y="679"/>
                </a:lnTo>
                <a:lnTo>
                  <a:pt x="5853" y="674"/>
                </a:lnTo>
                <a:lnTo>
                  <a:pt x="5828" y="668"/>
                </a:lnTo>
                <a:lnTo>
                  <a:pt x="5804" y="657"/>
                </a:lnTo>
                <a:lnTo>
                  <a:pt x="5780" y="646"/>
                </a:lnTo>
                <a:lnTo>
                  <a:pt x="5758" y="630"/>
                </a:lnTo>
                <a:lnTo>
                  <a:pt x="5738" y="613"/>
                </a:lnTo>
                <a:lnTo>
                  <a:pt x="5720" y="595"/>
                </a:lnTo>
                <a:lnTo>
                  <a:pt x="5703" y="574"/>
                </a:lnTo>
                <a:lnTo>
                  <a:pt x="5687" y="552"/>
                </a:lnTo>
                <a:lnTo>
                  <a:pt x="5675" y="529"/>
                </a:lnTo>
                <a:lnTo>
                  <a:pt x="5664" y="503"/>
                </a:lnTo>
                <a:lnTo>
                  <a:pt x="5655" y="476"/>
                </a:lnTo>
                <a:lnTo>
                  <a:pt x="5648" y="449"/>
                </a:lnTo>
                <a:lnTo>
                  <a:pt x="5645" y="420"/>
                </a:lnTo>
                <a:lnTo>
                  <a:pt x="5643" y="391"/>
                </a:lnTo>
                <a:lnTo>
                  <a:pt x="5643" y="313"/>
                </a:lnTo>
                <a:lnTo>
                  <a:pt x="5643" y="297"/>
                </a:lnTo>
                <a:lnTo>
                  <a:pt x="5645" y="278"/>
                </a:lnTo>
                <a:lnTo>
                  <a:pt x="5648" y="261"/>
                </a:lnTo>
                <a:lnTo>
                  <a:pt x="5652" y="242"/>
                </a:lnTo>
                <a:lnTo>
                  <a:pt x="5662" y="210"/>
                </a:lnTo>
                <a:lnTo>
                  <a:pt x="5675" y="178"/>
                </a:lnTo>
                <a:lnTo>
                  <a:pt x="5640" y="122"/>
                </a:lnTo>
                <a:lnTo>
                  <a:pt x="5659" y="105"/>
                </a:lnTo>
                <a:lnTo>
                  <a:pt x="5687" y="81"/>
                </a:lnTo>
                <a:lnTo>
                  <a:pt x="5703" y="68"/>
                </a:lnTo>
                <a:lnTo>
                  <a:pt x="5721" y="54"/>
                </a:lnTo>
                <a:lnTo>
                  <a:pt x="5742" y="41"/>
                </a:lnTo>
                <a:lnTo>
                  <a:pt x="5764" y="29"/>
                </a:lnTo>
                <a:lnTo>
                  <a:pt x="5787" y="19"/>
                </a:lnTo>
                <a:lnTo>
                  <a:pt x="5813" y="10"/>
                </a:lnTo>
                <a:lnTo>
                  <a:pt x="5840" y="3"/>
                </a:lnTo>
                <a:lnTo>
                  <a:pt x="5869" y="0"/>
                </a:lnTo>
                <a:lnTo>
                  <a:pt x="5897" y="0"/>
                </a:lnTo>
                <a:lnTo>
                  <a:pt x="5928" y="5"/>
                </a:lnTo>
                <a:lnTo>
                  <a:pt x="5945" y="8"/>
                </a:lnTo>
                <a:lnTo>
                  <a:pt x="5962" y="14"/>
                </a:lnTo>
                <a:lnTo>
                  <a:pt x="5977" y="19"/>
                </a:lnTo>
                <a:lnTo>
                  <a:pt x="5994" y="25"/>
                </a:lnTo>
                <a:lnTo>
                  <a:pt x="6006" y="25"/>
                </a:lnTo>
                <a:lnTo>
                  <a:pt x="6018" y="27"/>
                </a:lnTo>
                <a:lnTo>
                  <a:pt x="6031" y="29"/>
                </a:lnTo>
                <a:lnTo>
                  <a:pt x="6046" y="34"/>
                </a:lnTo>
                <a:lnTo>
                  <a:pt x="6062" y="39"/>
                </a:lnTo>
                <a:lnTo>
                  <a:pt x="6077" y="46"/>
                </a:lnTo>
                <a:lnTo>
                  <a:pt x="6092" y="54"/>
                </a:lnTo>
                <a:lnTo>
                  <a:pt x="6107" y="64"/>
                </a:lnTo>
                <a:lnTo>
                  <a:pt x="6123" y="75"/>
                </a:lnTo>
                <a:lnTo>
                  <a:pt x="6136" y="88"/>
                </a:lnTo>
                <a:lnTo>
                  <a:pt x="6150" y="102"/>
                </a:lnTo>
                <a:lnTo>
                  <a:pt x="6162" y="117"/>
                </a:lnTo>
                <a:lnTo>
                  <a:pt x="6174" y="132"/>
                </a:lnTo>
                <a:lnTo>
                  <a:pt x="6184" y="149"/>
                </a:lnTo>
                <a:lnTo>
                  <a:pt x="6190" y="168"/>
                </a:lnTo>
                <a:lnTo>
                  <a:pt x="6197" y="188"/>
                </a:lnTo>
                <a:lnTo>
                  <a:pt x="6202" y="188"/>
                </a:lnTo>
                <a:lnTo>
                  <a:pt x="6219" y="188"/>
                </a:lnTo>
                <a:lnTo>
                  <a:pt x="6236" y="191"/>
                </a:lnTo>
                <a:lnTo>
                  <a:pt x="6253" y="195"/>
                </a:lnTo>
                <a:lnTo>
                  <a:pt x="6268" y="202"/>
                </a:lnTo>
                <a:lnTo>
                  <a:pt x="6284" y="208"/>
                </a:lnTo>
                <a:lnTo>
                  <a:pt x="6297" y="217"/>
                </a:lnTo>
                <a:lnTo>
                  <a:pt x="6311" y="227"/>
                </a:lnTo>
                <a:lnTo>
                  <a:pt x="6323" y="237"/>
                </a:lnTo>
                <a:lnTo>
                  <a:pt x="6334" y="249"/>
                </a:lnTo>
                <a:lnTo>
                  <a:pt x="6345" y="263"/>
                </a:lnTo>
                <a:lnTo>
                  <a:pt x="6353" y="276"/>
                </a:lnTo>
                <a:lnTo>
                  <a:pt x="6360" y="291"/>
                </a:lnTo>
                <a:lnTo>
                  <a:pt x="6365" y="307"/>
                </a:lnTo>
                <a:lnTo>
                  <a:pt x="6370" y="324"/>
                </a:lnTo>
                <a:lnTo>
                  <a:pt x="6372" y="341"/>
                </a:lnTo>
                <a:lnTo>
                  <a:pt x="6373" y="358"/>
                </a:lnTo>
                <a:lnTo>
                  <a:pt x="6372" y="374"/>
                </a:lnTo>
                <a:lnTo>
                  <a:pt x="6370" y="391"/>
                </a:lnTo>
                <a:lnTo>
                  <a:pt x="6365" y="408"/>
                </a:lnTo>
                <a:lnTo>
                  <a:pt x="6360" y="424"/>
                </a:lnTo>
                <a:lnTo>
                  <a:pt x="6353" y="439"/>
                </a:lnTo>
                <a:lnTo>
                  <a:pt x="6345" y="452"/>
                </a:lnTo>
                <a:lnTo>
                  <a:pt x="6334" y="466"/>
                </a:lnTo>
                <a:lnTo>
                  <a:pt x="6323" y="478"/>
                </a:lnTo>
                <a:lnTo>
                  <a:pt x="6311" y="490"/>
                </a:lnTo>
                <a:lnTo>
                  <a:pt x="6297" y="500"/>
                </a:lnTo>
                <a:lnTo>
                  <a:pt x="6284" y="508"/>
                </a:lnTo>
                <a:lnTo>
                  <a:pt x="6268" y="515"/>
                </a:lnTo>
                <a:lnTo>
                  <a:pt x="6253" y="520"/>
                </a:lnTo>
                <a:lnTo>
                  <a:pt x="6236" y="525"/>
                </a:lnTo>
                <a:lnTo>
                  <a:pt x="6219" y="527"/>
                </a:lnTo>
                <a:lnTo>
                  <a:pt x="6202" y="529"/>
                </a:lnTo>
                <a:lnTo>
                  <a:pt x="6187" y="527"/>
                </a:lnTo>
                <a:lnTo>
                  <a:pt x="6174" y="525"/>
                </a:lnTo>
                <a:lnTo>
                  <a:pt x="6158" y="522"/>
                </a:lnTo>
                <a:lnTo>
                  <a:pt x="6145" y="518"/>
                </a:lnTo>
                <a:close/>
                <a:moveTo>
                  <a:pt x="6172" y="2713"/>
                </a:moveTo>
                <a:lnTo>
                  <a:pt x="6172" y="2718"/>
                </a:lnTo>
                <a:lnTo>
                  <a:pt x="6172" y="2796"/>
                </a:lnTo>
                <a:lnTo>
                  <a:pt x="6170" y="2825"/>
                </a:lnTo>
                <a:lnTo>
                  <a:pt x="6167" y="2852"/>
                </a:lnTo>
                <a:lnTo>
                  <a:pt x="6160" y="2879"/>
                </a:lnTo>
                <a:lnTo>
                  <a:pt x="6152" y="2906"/>
                </a:lnTo>
                <a:lnTo>
                  <a:pt x="6140" y="2931"/>
                </a:lnTo>
                <a:lnTo>
                  <a:pt x="6128" y="2955"/>
                </a:lnTo>
                <a:lnTo>
                  <a:pt x="6113" y="2977"/>
                </a:lnTo>
                <a:lnTo>
                  <a:pt x="6096" y="2997"/>
                </a:lnTo>
                <a:lnTo>
                  <a:pt x="6077" y="3016"/>
                </a:lnTo>
                <a:lnTo>
                  <a:pt x="6057" y="3033"/>
                </a:lnTo>
                <a:lnTo>
                  <a:pt x="6035" y="3048"/>
                </a:lnTo>
                <a:lnTo>
                  <a:pt x="6011" y="3060"/>
                </a:lnTo>
                <a:lnTo>
                  <a:pt x="5987" y="3070"/>
                </a:lnTo>
                <a:lnTo>
                  <a:pt x="5962" y="3077"/>
                </a:lnTo>
                <a:lnTo>
                  <a:pt x="5935" y="3082"/>
                </a:lnTo>
                <a:lnTo>
                  <a:pt x="5908" y="3084"/>
                </a:lnTo>
                <a:lnTo>
                  <a:pt x="5880" y="3082"/>
                </a:lnTo>
                <a:lnTo>
                  <a:pt x="5853" y="3077"/>
                </a:lnTo>
                <a:lnTo>
                  <a:pt x="5828" y="3070"/>
                </a:lnTo>
                <a:lnTo>
                  <a:pt x="5803" y="3060"/>
                </a:lnTo>
                <a:lnTo>
                  <a:pt x="5780" y="3048"/>
                </a:lnTo>
                <a:lnTo>
                  <a:pt x="5758" y="3033"/>
                </a:lnTo>
                <a:lnTo>
                  <a:pt x="5738" y="3016"/>
                </a:lnTo>
                <a:lnTo>
                  <a:pt x="5720" y="2997"/>
                </a:lnTo>
                <a:lnTo>
                  <a:pt x="5703" y="2977"/>
                </a:lnTo>
                <a:lnTo>
                  <a:pt x="5687" y="2955"/>
                </a:lnTo>
                <a:lnTo>
                  <a:pt x="5675" y="2931"/>
                </a:lnTo>
                <a:lnTo>
                  <a:pt x="5664" y="2906"/>
                </a:lnTo>
                <a:lnTo>
                  <a:pt x="5655" y="2879"/>
                </a:lnTo>
                <a:lnTo>
                  <a:pt x="5648" y="2852"/>
                </a:lnTo>
                <a:lnTo>
                  <a:pt x="5645" y="2825"/>
                </a:lnTo>
                <a:lnTo>
                  <a:pt x="5643" y="2796"/>
                </a:lnTo>
                <a:lnTo>
                  <a:pt x="5643" y="2718"/>
                </a:lnTo>
                <a:lnTo>
                  <a:pt x="5645" y="2689"/>
                </a:lnTo>
                <a:lnTo>
                  <a:pt x="5648" y="2660"/>
                </a:lnTo>
                <a:lnTo>
                  <a:pt x="5655" y="2633"/>
                </a:lnTo>
                <a:lnTo>
                  <a:pt x="5664" y="2606"/>
                </a:lnTo>
                <a:lnTo>
                  <a:pt x="5675" y="2581"/>
                </a:lnTo>
                <a:lnTo>
                  <a:pt x="5687" y="2557"/>
                </a:lnTo>
                <a:lnTo>
                  <a:pt x="5703" y="2535"/>
                </a:lnTo>
                <a:lnTo>
                  <a:pt x="5720" y="2514"/>
                </a:lnTo>
                <a:lnTo>
                  <a:pt x="5618" y="2492"/>
                </a:lnTo>
                <a:lnTo>
                  <a:pt x="5618" y="2426"/>
                </a:lnTo>
                <a:lnTo>
                  <a:pt x="5962" y="2415"/>
                </a:lnTo>
                <a:lnTo>
                  <a:pt x="5979" y="2416"/>
                </a:lnTo>
                <a:lnTo>
                  <a:pt x="5996" y="2420"/>
                </a:lnTo>
                <a:lnTo>
                  <a:pt x="6013" y="2425"/>
                </a:lnTo>
                <a:lnTo>
                  <a:pt x="6030" y="2433"/>
                </a:lnTo>
                <a:lnTo>
                  <a:pt x="6048" y="2443"/>
                </a:lnTo>
                <a:lnTo>
                  <a:pt x="6065" y="2457"/>
                </a:lnTo>
                <a:lnTo>
                  <a:pt x="6082" y="2472"/>
                </a:lnTo>
                <a:lnTo>
                  <a:pt x="6097" y="2489"/>
                </a:lnTo>
                <a:lnTo>
                  <a:pt x="6113" y="2509"/>
                </a:lnTo>
                <a:lnTo>
                  <a:pt x="6128" y="2530"/>
                </a:lnTo>
                <a:lnTo>
                  <a:pt x="6140" y="2553"/>
                </a:lnTo>
                <a:lnTo>
                  <a:pt x="6150" y="2581"/>
                </a:lnTo>
                <a:lnTo>
                  <a:pt x="6160" y="2608"/>
                </a:lnTo>
                <a:lnTo>
                  <a:pt x="6165" y="2638"/>
                </a:lnTo>
                <a:lnTo>
                  <a:pt x="6170" y="2669"/>
                </a:lnTo>
                <a:lnTo>
                  <a:pt x="6172" y="2703"/>
                </a:lnTo>
                <a:lnTo>
                  <a:pt x="6172" y="2713"/>
                </a:lnTo>
                <a:close/>
                <a:moveTo>
                  <a:pt x="5801" y="2531"/>
                </a:moveTo>
                <a:lnTo>
                  <a:pt x="5801" y="2531"/>
                </a:lnTo>
                <a:lnTo>
                  <a:pt x="5782" y="2547"/>
                </a:lnTo>
                <a:lnTo>
                  <a:pt x="5765" y="2565"/>
                </a:lnTo>
                <a:lnTo>
                  <a:pt x="5750" y="2586"/>
                </a:lnTo>
                <a:lnTo>
                  <a:pt x="5736" y="2609"/>
                </a:lnTo>
                <a:lnTo>
                  <a:pt x="5726" y="2633"/>
                </a:lnTo>
                <a:lnTo>
                  <a:pt x="5718" y="2660"/>
                </a:lnTo>
                <a:lnTo>
                  <a:pt x="5713" y="2687"/>
                </a:lnTo>
                <a:lnTo>
                  <a:pt x="5711" y="2718"/>
                </a:lnTo>
                <a:lnTo>
                  <a:pt x="5711" y="2796"/>
                </a:lnTo>
                <a:lnTo>
                  <a:pt x="5713" y="2818"/>
                </a:lnTo>
                <a:lnTo>
                  <a:pt x="5716" y="2840"/>
                </a:lnTo>
                <a:lnTo>
                  <a:pt x="5721" y="2862"/>
                </a:lnTo>
                <a:lnTo>
                  <a:pt x="5728" y="2882"/>
                </a:lnTo>
                <a:lnTo>
                  <a:pt x="5736" y="2903"/>
                </a:lnTo>
                <a:lnTo>
                  <a:pt x="5745" y="2919"/>
                </a:lnTo>
                <a:lnTo>
                  <a:pt x="5757" y="2936"/>
                </a:lnTo>
                <a:lnTo>
                  <a:pt x="5770" y="2953"/>
                </a:lnTo>
                <a:lnTo>
                  <a:pt x="5784" y="2967"/>
                </a:lnTo>
                <a:lnTo>
                  <a:pt x="5799" y="2979"/>
                </a:lnTo>
                <a:lnTo>
                  <a:pt x="5816" y="2991"/>
                </a:lnTo>
                <a:lnTo>
                  <a:pt x="5833" y="2999"/>
                </a:lnTo>
                <a:lnTo>
                  <a:pt x="5850" y="3006"/>
                </a:lnTo>
                <a:lnTo>
                  <a:pt x="5869" y="3011"/>
                </a:lnTo>
                <a:lnTo>
                  <a:pt x="5887" y="3014"/>
                </a:lnTo>
                <a:lnTo>
                  <a:pt x="5908" y="3016"/>
                </a:lnTo>
                <a:lnTo>
                  <a:pt x="5926" y="3014"/>
                </a:lnTo>
                <a:lnTo>
                  <a:pt x="5945" y="3011"/>
                </a:lnTo>
                <a:lnTo>
                  <a:pt x="5963" y="3006"/>
                </a:lnTo>
                <a:lnTo>
                  <a:pt x="5982" y="2999"/>
                </a:lnTo>
                <a:lnTo>
                  <a:pt x="5999" y="2991"/>
                </a:lnTo>
                <a:lnTo>
                  <a:pt x="6014" y="2980"/>
                </a:lnTo>
                <a:lnTo>
                  <a:pt x="6030" y="2967"/>
                </a:lnTo>
                <a:lnTo>
                  <a:pt x="6043" y="2953"/>
                </a:lnTo>
                <a:lnTo>
                  <a:pt x="6057" y="2938"/>
                </a:lnTo>
                <a:lnTo>
                  <a:pt x="6068" y="2921"/>
                </a:lnTo>
                <a:lnTo>
                  <a:pt x="6079" y="2904"/>
                </a:lnTo>
                <a:lnTo>
                  <a:pt x="6087" y="2886"/>
                </a:lnTo>
                <a:lnTo>
                  <a:pt x="6094" y="2865"/>
                </a:lnTo>
                <a:lnTo>
                  <a:pt x="6099" y="2843"/>
                </a:lnTo>
                <a:lnTo>
                  <a:pt x="6102" y="2821"/>
                </a:lnTo>
                <a:lnTo>
                  <a:pt x="6104" y="2799"/>
                </a:lnTo>
                <a:lnTo>
                  <a:pt x="5985" y="2838"/>
                </a:lnTo>
                <a:lnTo>
                  <a:pt x="5977" y="2669"/>
                </a:lnTo>
                <a:lnTo>
                  <a:pt x="5853" y="2669"/>
                </a:lnTo>
                <a:lnTo>
                  <a:pt x="5899" y="2552"/>
                </a:lnTo>
                <a:lnTo>
                  <a:pt x="5801" y="2531"/>
                </a:lnTo>
                <a:close/>
                <a:moveTo>
                  <a:pt x="4183" y="293"/>
                </a:moveTo>
                <a:lnTo>
                  <a:pt x="4279" y="274"/>
                </a:lnTo>
                <a:lnTo>
                  <a:pt x="4508" y="1596"/>
                </a:lnTo>
                <a:lnTo>
                  <a:pt x="4412" y="1615"/>
                </a:lnTo>
                <a:lnTo>
                  <a:pt x="4371" y="1474"/>
                </a:lnTo>
                <a:lnTo>
                  <a:pt x="4352" y="1405"/>
                </a:lnTo>
                <a:lnTo>
                  <a:pt x="4334" y="1333"/>
                </a:lnTo>
                <a:lnTo>
                  <a:pt x="4317" y="1262"/>
                </a:lnTo>
                <a:lnTo>
                  <a:pt x="4300" y="1191"/>
                </a:lnTo>
                <a:lnTo>
                  <a:pt x="4285" y="1120"/>
                </a:lnTo>
                <a:lnTo>
                  <a:pt x="4271" y="1049"/>
                </a:lnTo>
                <a:lnTo>
                  <a:pt x="3990" y="1769"/>
                </a:lnTo>
                <a:lnTo>
                  <a:pt x="3983" y="1793"/>
                </a:lnTo>
                <a:lnTo>
                  <a:pt x="3980" y="1811"/>
                </a:lnTo>
                <a:lnTo>
                  <a:pt x="3981" y="1827"/>
                </a:lnTo>
                <a:lnTo>
                  <a:pt x="3983" y="1833"/>
                </a:lnTo>
                <a:lnTo>
                  <a:pt x="3985" y="1840"/>
                </a:lnTo>
                <a:lnTo>
                  <a:pt x="3988" y="1845"/>
                </a:lnTo>
                <a:lnTo>
                  <a:pt x="3991" y="1850"/>
                </a:lnTo>
                <a:lnTo>
                  <a:pt x="4002" y="1857"/>
                </a:lnTo>
                <a:lnTo>
                  <a:pt x="4015" y="1862"/>
                </a:lnTo>
                <a:lnTo>
                  <a:pt x="4029" y="1862"/>
                </a:lnTo>
                <a:lnTo>
                  <a:pt x="5697" y="1862"/>
                </a:lnTo>
                <a:lnTo>
                  <a:pt x="5697" y="1930"/>
                </a:lnTo>
                <a:lnTo>
                  <a:pt x="4029" y="1930"/>
                </a:lnTo>
                <a:lnTo>
                  <a:pt x="4008" y="1930"/>
                </a:lnTo>
                <a:lnTo>
                  <a:pt x="3990" y="1927"/>
                </a:lnTo>
                <a:lnTo>
                  <a:pt x="3973" y="1920"/>
                </a:lnTo>
                <a:lnTo>
                  <a:pt x="3959" y="1913"/>
                </a:lnTo>
                <a:lnTo>
                  <a:pt x="3947" y="1903"/>
                </a:lnTo>
                <a:lnTo>
                  <a:pt x="3937" y="1893"/>
                </a:lnTo>
                <a:lnTo>
                  <a:pt x="3929" y="1881"/>
                </a:lnTo>
                <a:lnTo>
                  <a:pt x="3922" y="1867"/>
                </a:lnTo>
                <a:lnTo>
                  <a:pt x="3919" y="1854"/>
                </a:lnTo>
                <a:lnTo>
                  <a:pt x="3915" y="1838"/>
                </a:lnTo>
                <a:lnTo>
                  <a:pt x="3914" y="1823"/>
                </a:lnTo>
                <a:lnTo>
                  <a:pt x="3914" y="1808"/>
                </a:lnTo>
                <a:lnTo>
                  <a:pt x="3915" y="1791"/>
                </a:lnTo>
                <a:lnTo>
                  <a:pt x="3917" y="1776"/>
                </a:lnTo>
                <a:lnTo>
                  <a:pt x="3922" y="1760"/>
                </a:lnTo>
                <a:lnTo>
                  <a:pt x="3927" y="1745"/>
                </a:lnTo>
                <a:lnTo>
                  <a:pt x="4249" y="922"/>
                </a:lnTo>
                <a:lnTo>
                  <a:pt x="4235" y="844"/>
                </a:lnTo>
                <a:lnTo>
                  <a:pt x="4225" y="766"/>
                </a:lnTo>
                <a:lnTo>
                  <a:pt x="4215" y="688"/>
                </a:lnTo>
                <a:lnTo>
                  <a:pt x="4207" y="610"/>
                </a:lnTo>
                <a:lnTo>
                  <a:pt x="4200" y="530"/>
                </a:lnTo>
                <a:lnTo>
                  <a:pt x="4193" y="452"/>
                </a:lnTo>
                <a:lnTo>
                  <a:pt x="4188" y="373"/>
                </a:lnTo>
                <a:lnTo>
                  <a:pt x="4183" y="293"/>
                </a:lnTo>
                <a:close/>
                <a:moveTo>
                  <a:pt x="2555" y="2696"/>
                </a:moveTo>
                <a:lnTo>
                  <a:pt x="2555" y="2696"/>
                </a:lnTo>
                <a:lnTo>
                  <a:pt x="2550" y="2775"/>
                </a:lnTo>
                <a:lnTo>
                  <a:pt x="2545" y="2855"/>
                </a:lnTo>
                <a:lnTo>
                  <a:pt x="2540" y="2933"/>
                </a:lnTo>
                <a:lnTo>
                  <a:pt x="2531" y="3013"/>
                </a:lnTo>
                <a:lnTo>
                  <a:pt x="2523" y="3091"/>
                </a:lnTo>
                <a:lnTo>
                  <a:pt x="2512" y="3169"/>
                </a:lnTo>
                <a:lnTo>
                  <a:pt x="2502" y="3246"/>
                </a:lnTo>
                <a:lnTo>
                  <a:pt x="2490" y="3324"/>
                </a:lnTo>
                <a:lnTo>
                  <a:pt x="2811" y="4148"/>
                </a:lnTo>
                <a:lnTo>
                  <a:pt x="2817" y="4163"/>
                </a:lnTo>
                <a:lnTo>
                  <a:pt x="2821" y="4178"/>
                </a:lnTo>
                <a:lnTo>
                  <a:pt x="2824" y="4194"/>
                </a:lnTo>
                <a:lnTo>
                  <a:pt x="2824" y="4211"/>
                </a:lnTo>
                <a:lnTo>
                  <a:pt x="2824" y="4226"/>
                </a:lnTo>
                <a:lnTo>
                  <a:pt x="2822" y="4241"/>
                </a:lnTo>
                <a:lnTo>
                  <a:pt x="2821" y="4256"/>
                </a:lnTo>
                <a:lnTo>
                  <a:pt x="2816" y="4270"/>
                </a:lnTo>
                <a:lnTo>
                  <a:pt x="2809" y="4283"/>
                </a:lnTo>
                <a:lnTo>
                  <a:pt x="2800" y="4295"/>
                </a:lnTo>
                <a:lnTo>
                  <a:pt x="2790" y="4305"/>
                </a:lnTo>
                <a:lnTo>
                  <a:pt x="2778" y="4316"/>
                </a:lnTo>
                <a:lnTo>
                  <a:pt x="2765" y="4322"/>
                </a:lnTo>
                <a:lnTo>
                  <a:pt x="2748" y="4329"/>
                </a:lnTo>
                <a:lnTo>
                  <a:pt x="2729" y="4333"/>
                </a:lnTo>
                <a:lnTo>
                  <a:pt x="2709" y="4333"/>
                </a:lnTo>
                <a:lnTo>
                  <a:pt x="1040" y="4333"/>
                </a:lnTo>
                <a:lnTo>
                  <a:pt x="1040" y="4265"/>
                </a:lnTo>
                <a:lnTo>
                  <a:pt x="2709" y="4265"/>
                </a:lnTo>
                <a:lnTo>
                  <a:pt x="2724" y="4265"/>
                </a:lnTo>
                <a:lnTo>
                  <a:pt x="2736" y="4260"/>
                </a:lnTo>
                <a:lnTo>
                  <a:pt x="2746" y="4253"/>
                </a:lnTo>
                <a:lnTo>
                  <a:pt x="2750" y="4248"/>
                </a:lnTo>
                <a:lnTo>
                  <a:pt x="2753" y="4243"/>
                </a:lnTo>
                <a:lnTo>
                  <a:pt x="2756" y="4236"/>
                </a:lnTo>
                <a:lnTo>
                  <a:pt x="2758" y="4229"/>
                </a:lnTo>
                <a:lnTo>
                  <a:pt x="2758" y="4214"/>
                </a:lnTo>
                <a:lnTo>
                  <a:pt x="2755" y="4195"/>
                </a:lnTo>
                <a:lnTo>
                  <a:pt x="2748" y="4172"/>
                </a:lnTo>
                <a:lnTo>
                  <a:pt x="2467" y="3451"/>
                </a:lnTo>
                <a:lnTo>
                  <a:pt x="2453" y="3523"/>
                </a:lnTo>
                <a:lnTo>
                  <a:pt x="2438" y="3594"/>
                </a:lnTo>
                <a:lnTo>
                  <a:pt x="2421" y="3665"/>
                </a:lnTo>
                <a:lnTo>
                  <a:pt x="2404" y="3736"/>
                </a:lnTo>
                <a:lnTo>
                  <a:pt x="2387" y="3807"/>
                </a:lnTo>
                <a:lnTo>
                  <a:pt x="2367" y="3877"/>
                </a:lnTo>
                <a:lnTo>
                  <a:pt x="2326" y="4017"/>
                </a:lnTo>
                <a:lnTo>
                  <a:pt x="2230" y="3999"/>
                </a:lnTo>
                <a:lnTo>
                  <a:pt x="2458" y="2677"/>
                </a:lnTo>
                <a:lnTo>
                  <a:pt x="2555" y="2696"/>
                </a:lnTo>
                <a:close/>
                <a:moveTo>
                  <a:pt x="4183" y="2696"/>
                </a:moveTo>
                <a:lnTo>
                  <a:pt x="4279" y="2677"/>
                </a:lnTo>
                <a:lnTo>
                  <a:pt x="4508" y="3999"/>
                </a:lnTo>
                <a:lnTo>
                  <a:pt x="4412" y="4017"/>
                </a:lnTo>
                <a:lnTo>
                  <a:pt x="4371" y="3877"/>
                </a:lnTo>
                <a:lnTo>
                  <a:pt x="4352" y="3807"/>
                </a:lnTo>
                <a:lnTo>
                  <a:pt x="4334" y="3736"/>
                </a:lnTo>
                <a:lnTo>
                  <a:pt x="4317" y="3665"/>
                </a:lnTo>
                <a:lnTo>
                  <a:pt x="4300" y="3594"/>
                </a:lnTo>
                <a:lnTo>
                  <a:pt x="4285" y="3523"/>
                </a:lnTo>
                <a:lnTo>
                  <a:pt x="4271" y="3451"/>
                </a:lnTo>
                <a:lnTo>
                  <a:pt x="3990" y="4172"/>
                </a:lnTo>
                <a:lnTo>
                  <a:pt x="3983" y="4195"/>
                </a:lnTo>
                <a:lnTo>
                  <a:pt x="3980" y="4214"/>
                </a:lnTo>
                <a:lnTo>
                  <a:pt x="3981" y="4229"/>
                </a:lnTo>
                <a:lnTo>
                  <a:pt x="3983" y="4236"/>
                </a:lnTo>
                <a:lnTo>
                  <a:pt x="3985" y="4243"/>
                </a:lnTo>
                <a:lnTo>
                  <a:pt x="3988" y="4248"/>
                </a:lnTo>
                <a:lnTo>
                  <a:pt x="3991" y="4253"/>
                </a:lnTo>
                <a:lnTo>
                  <a:pt x="4002" y="4260"/>
                </a:lnTo>
                <a:lnTo>
                  <a:pt x="4015" y="4265"/>
                </a:lnTo>
                <a:lnTo>
                  <a:pt x="4029" y="4265"/>
                </a:lnTo>
                <a:lnTo>
                  <a:pt x="5697" y="4265"/>
                </a:lnTo>
                <a:lnTo>
                  <a:pt x="5697" y="4333"/>
                </a:lnTo>
                <a:lnTo>
                  <a:pt x="4029" y="4333"/>
                </a:lnTo>
                <a:lnTo>
                  <a:pt x="4008" y="4333"/>
                </a:lnTo>
                <a:lnTo>
                  <a:pt x="3990" y="4329"/>
                </a:lnTo>
                <a:lnTo>
                  <a:pt x="3973" y="4322"/>
                </a:lnTo>
                <a:lnTo>
                  <a:pt x="3959" y="4316"/>
                </a:lnTo>
                <a:lnTo>
                  <a:pt x="3947" y="4305"/>
                </a:lnTo>
                <a:lnTo>
                  <a:pt x="3937" y="4295"/>
                </a:lnTo>
                <a:lnTo>
                  <a:pt x="3929" y="4283"/>
                </a:lnTo>
                <a:lnTo>
                  <a:pt x="3922" y="4270"/>
                </a:lnTo>
                <a:lnTo>
                  <a:pt x="3919" y="4256"/>
                </a:lnTo>
                <a:lnTo>
                  <a:pt x="3915" y="4241"/>
                </a:lnTo>
                <a:lnTo>
                  <a:pt x="3914" y="4226"/>
                </a:lnTo>
                <a:lnTo>
                  <a:pt x="3914" y="4211"/>
                </a:lnTo>
                <a:lnTo>
                  <a:pt x="3915" y="4194"/>
                </a:lnTo>
                <a:lnTo>
                  <a:pt x="3917" y="4178"/>
                </a:lnTo>
                <a:lnTo>
                  <a:pt x="3922" y="4163"/>
                </a:lnTo>
                <a:lnTo>
                  <a:pt x="3927" y="4148"/>
                </a:lnTo>
                <a:lnTo>
                  <a:pt x="4249" y="3324"/>
                </a:lnTo>
                <a:lnTo>
                  <a:pt x="4235" y="3246"/>
                </a:lnTo>
                <a:lnTo>
                  <a:pt x="4225" y="3169"/>
                </a:lnTo>
                <a:lnTo>
                  <a:pt x="4215" y="3091"/>
                </a:lnTo>
                <a:lnTo>
                  <a:pt x="4207" y="3013"/>
                </a:lnTo>
                <a:lnTo>
                  <a:pt x="4200" y="2933"/>
                </a:lnTo>
                <a:lnTo>
                  <a:pt x="4193" y="2855"/>
                </a:lnTo>
                <a:lnTo>
                  <a:pt x="4188" y="2775"/>
                </a:lnTo>
                <a:lnTo>
                  <a:pt x="4183" y="2696"/>
                </a:lnTo>
                <a:close/>
                <a:moveTo>
                  <a:pt x="1991" y="4109"/>
                </a:moveTo>
                <a:lnTo>
                  <a:pt x="1991" y="4109"/>
                </a:lnTo>
                <a:lnTo>
                  <a:pt x="1994" y="4109"/>
                </a:lnTo>
                <a:lnTo>
                  <a:pt x="1999" y="4109"/>
                </a:lnTo>
                <a:lnTo>
                  <a:pt x="2001" y="4107"/>
                </a:lnTo>
                <a:lnTo>
                  <a:pt x="2003" y="4106"/>
                </a:lnTo>
                <a:lnTo>
                  <a:pt x="2004" y="4102"/>
                </a:lnTo>
                <a:lnTo>
                  <a:pt x="2003" y="4100"/>
                </a:lnTo>
                <a:lnTo>
                  <a:pt x="2001" y="4097"/>
                </a:lnTo>
                <a:lnTo>
                  <a:pt x="1999" y="4095"/>
                </a:lnTo>
                <a:lnTo>
                  <a:pt x="1864" y="4004"/>
                </a:lnTo>
                <a:lnTo>
                  <a:pt x="1843" y="3994"/>
                </a:lnTo>
                <a:lnTo>
                  <a:pt x="1825" y="3985"/>
                </a:lnTo>
                <a:lnTo>
                  <a:pt x="1804" y="3980"/>
                </a:lnTo>
                <a:lnTo>
                  <a:pt x="1784" y="3980"/>
                </a:lnTo>
                <a:lnTo>
                  <a:pt x="1465" y="3982"/>
                </a:lnTo>
                <a:lnTo>
                  <a:pt x="1465" y="3914"/>
                </a:lnTo>
                <a:lnTo>
                  <a:pt x="1782" y="3914"/>
                </a:lnTo>
                <a:lnTo>
                  <a:pt x="1811" y="3916"/>
                </a:lnTo>
                <a:lnTo>
                  <a:pt x="1825" y="3916"/>
                </a:lnTo>
                <a:lnTo>
                  <a:pt x="1838" y="3919"/>
                </a:lnTo>
                <a:lnTo>
                  <a:pt x="1852" y="3923"/>
                </a:lnTo>
                <a:lnTo>
                  <a:pt x="1864" y="3928"/>
                </a:lnTo>
                <a:lnTo>
                  <a:pt x="1875" y="3933"/>
                </a:lnTo>
                <a:lnTo>
                  <a:pt x="1887" y="3941"/>
                </a:lnTo>
                <a:lnTo>
                  <a:pt x="2036" y="4061"/>
                </a:lnTo>
                <a:lnTo>
                  <a:pt x="2045" y="4070"/>
                </a:lnTo>
                <a:lnTo>
                  <a:pt x="2053" y="4078"/>
                </a:lnTo>
                <a:lnTo>
                  <a:pt x="2058" y="4089"/>
                </a:lnTo>
                <a:lnTo>
                  <a:pt x="2062" y="4099"/>
                </a:lnTo>
                <a:lnTo>
                  <a:pt x="2065" y="4107"/>
                </a:lnTo>
                <a:lnTo>
                  <a:pt x="2065" y="4117"/>
                </a:lnTo>
                <a:lnTo>
                  <a:pt x="2063" y="4126"/>
                </a:lnTo>
                <a:lnTo>
                  <a:pt x="2062" y="4134"/>
                </a:lnTo>
                <a:lnTo>
                  <a:pt x="2058" y="4143"/>
                </a:lnTo>
                <a:lnTo>
                  <a:pt x="2053" y="4150"/>
                </a:lnTo>
                <a:lnTo>
                  <a:pt x="2048" y="4155"/>
                </a:lnTo>
                <a:lnTo>
                  <a:pt x="2041" y="4160"/>
                </a:lnTo>
                <a:lnTo>
                  <a:pt x="2035" y="4163"/>
                </a:lnTo>
                <a:lnTo>
                  <a:pt x="2026" y="4165"/>
                </a:lnTo>
                <a:lnTo>
                  <a:pt x="2018" y="4165"/>
                </a:lnTo>
                <a:lnTo>
                  <a:pt x="2008" y="4163"/>
                </a:lnTo>
                <a:lnTo>
                  <a:pt x="1962" y="4153"/>
                </a:lnTo>
                <a:lnTo>
                  <a:pt x="1962" y="4194"/>
                </a:lnTo>
                <a:lnTo>
                  <a:pt x="1586" y="4194"/>
                </a:lnTo>
                <a:lnTo>
                  <a:pt x="1586" y="4175"/>
                </a:lnTo>
                <a:lnTo>
                  <a:pt x="1537" y="4187"/>
                </a:lnTo>
                <a:lnTo>
                  <a:pt x="1535" y="4117"/>
                </a:lnTo>
                <a:lnTo>
                  <a:pt x="1833" y="4050"/>
                </a:lnTo>
                <a:lnTo>
                  <a:pt x="1991" y="4109"/>
                </a:lnTo>
                <a:close/>
                <a:moveTo>
                  <a:pt x="4752" y="1699"/>
                </a:moveTo>
                <a:lnTo>
                  <a:pt x="4908" y="1642"/>
                </a:lnTo>
                <a:lnTo>
                  <a:pt x="5206" y="1710"/>
                </a:lnTo>
                <a:lnTo>
                  <a:pt x="5204" y="1779"/>
                </a:lnTo>
                <a:lnTo>
                  <a:pt x="5157" y="1767"/>
                </a:lnTo>
                <a:lnTo>
                  <a:pt x="5157" y="1786"/>
                </a:lnTo>
                <a:lnTo>
                  <a:pt x="4779" y="1786"/>
                </a:lnTo>
                <a:lnTo>
                  <a:pt x="4779" y="1744"/>
                </a:lnTo>
                <a:lnTo>
                  <a:pt x="4733" y="1755"/>
                </a:lnTo>
                <a:lnTo>
                  <a:pt x="4725" y="1757"/>
                </a:lnTo>
                <a:lnTo>
                  <a:pt x="4717" y="1757"/>
                </a:lnTo>
                <a:lnTo>
                  <a:pt x="4708" y="1754"/>
                </a:lnTo>
                <a:lnTo>
                  <a:pt x="4701" y="1750"/>
                </a:lnTo>
                <a:lnTo>
                  <a:pt x="4695" y="1747"/>
                </a:lnTo>
                <a:lnTo>
                  <a:pt x="4688" y="1740"/>
                </a:lnTo>
                <a:lnTo>
                  <a:pt x="4684" y="1733"/>
                </a:lnTo>
                <a:lnTo>
                  <a:pt x="4679" y="1727"/>
                </a:lnTo>
                <a:lnTo>
                  <a:pt x="4678" y="1718"/>
                </a:lnTo>
                <a:lnTo>
                  <a:pt x="4678" y="1710"/>
                </a:lnTo>
                <a:lnTo>
                  <a:pt x="4678" y="1699"/>
                </a:lnTo>
                <a:lnTo>
                  <a:pt x="4679" y="1691"/>
                </a:lnTo>
                <a:lnTo>
                  <a:pt x="4683" y="1681"/>
                </a:lnTo>
                <a:lnTo>
                  <a:pt x="4689" y="1671"/>
                </a:lnTo>
                <a:lnTo>
                  <a:pt x="4696" y="1662"/>
                </a:lnTo>
                <a:lnTo>
                  <a:pt x="4706" y="1652"/>
                </a:lnTo>
                <a:lnTo>
                  <a:pt x="4855" y="1533"/>
                </a:lnTo>
                <a:lnTo>
                  <a:pt x="4866" y="1525"/>
                </a:lnTo>
                <a:lnTo>
                  <a:pt x="4878" y="1520"/>
                </a:lnTo>
                <a:lnTo>
                  <a:pt x="4891" y="1515"/>
                </a:lnTo>
                <a:lnTo>
                  <a:pt x="4905" y="1511"/>
                </a:lnTo>
                <a:lnTo>
                  <a:pt x="4916" y="1508"/>
                </a:lnTo>
                <a:lnTo>
                  <a:pt x="4932" y="1506"/>
                </a:lnTo>
                <a:lnTo>
                  <a:pt x="4961" y="1506"/>
                </a:lnTo>
                <a:lnTo>
                  <a:pt x="5277" y="1506"/>
                </a:lnTo>
                <a:lnTo>
                  <a:pt x="5277" y="1574"/>
                </a:lnTo>
                <a:lnTo>
                  <a:pt x="4959" y="1571"/>
                </a:lnTo>
                <a:lnTo>
                  <a:pt x="4937" y="1572"/>
                </a:lnTo>
                <a:lnTo>
                  <a:pt x="4918" y="1577"/>
                </a:lnTo>
                <a:lnTo>
                  <a:pt x="4898" y="1584"/>
                </a:lnTo>
                <a:lnTo>
                  <a:pt x="4879" y="1596"/>
                </a:lnTo>
                <a:lnTo>
                  <a:pt x="4744" y="1686"/>
                </a:lnTo>
                <a:lnTo>
                  <a:pt x="4740" y="1689"/>
                </a:lnTo>
                <a:lnTo>
                  <a:pt x="4739" y="1691"/>
                </a:lnTo>
                <a:lnTo>
                  <a:pt x="4739" y="1694"/>
                </a:lnTo>
                <a:lnTo>
                  <a:pt x="4739" y="1698"/>
                </a:lnTo>
                <a:lnTo>
                  <a:pt x="4740" y="1699"/>
                </a:lnTo>
                <a:lnTo>
                  <a:pt x="4744" y="1701"/>
                </a:lnTo>
                <a:lnTo>
                  <a:pt x="4747" y="1701"/>
                </a:lnTo>
                <a:lnTo>
                  <a:pt x="4752" y="16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8" name="Freeform 21">
            <a:extLst>
              <a:ext uri="{FF2B5EF4-FFF2-40B4-BE49-F238E27FC236}">
                <a16:creationId xmlns:a16="http://schemas.microsoft.com/office/drawing/2014/main" id="{A70D0DF9-FB2C-1D54-AEC2-014FBA26FE4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86115" y="5336313"/>
            <a:ext cx="676700" cy="456724"/>
          </a:xfrm>
          <a:custGeom>
            <a:avLst/>
            <a:gdLst>
              <a:gd name="T0" fmla="*/ 2147483647 w 6736"/>
              <a:gd name="T1" fmla="*/ 2147483647 h 4541"/>
              <a:gd name="T2" fmla="*/ 2147483647 w 6736"/>
              <a:gd name="T3" fmla="*/ 2147483647 h 4541"/>
              <a:gd name="T4" fmla="*/ 2147483647 w 6736"/>
              <a:gd name="T5" fmla="*/ 2147483647 h 4541"/>
              <a:gd name="T6" fmla="*/ 2147483647 w 6736"/>
              <a:gd name="T7" fmla="*/ 2147483647 h 4541"/>
              <a:gd name="T8" fmla="*/ 2147483647 w 6736"/>
              <a:gd name="T9" fmla="*/ 2147483647 h 4541"/>
              <a:gd name="T10" fmla="*/ 2147483647 w 6736"/>
              <a:gd name="T11" fmla="*/ 2147483647 h 4541"/>
              <a:gd name="T12" fmla="*/ 2147483647 w 6736"/>
              <a:gd name="T13" fmla="*/ 2147483647 h 4541"/>
              <a:gd name="T14" fmla="*/ 2147483647 w 6736"/>
              <a:gd name="T15" fmla="*/ 2147483647 h 4541"/>
              <a:gd name="T16" fmla="*/ 2147483647 w 6736"/>
              <a:gd name="T17" fmla="*/ 2147483647 h 4541"/>
              <a:gd name="T18" fmla="*/ 2147483647 w 6736"/>
              <a:gd name="T19" fmla="*/ 2147483647 h 4541"/>
              <a:gd name="T20" fmla="*/ 2147483647 w 6736"/>
              <a:gd name="T21" fmla="*/ 2147483647 h 4541"/>
              <a:gd name="T22" fmla="*/ 2147483647 w 6736"/>
              <a:gd name="T23" fmla="*/ 2147483647 h 4541"/>
              <a:gd name="T24" fmla="*/ 2147483647 w 6736"/>
              <a:gd name="T25" fmla="*/ 2147483647 h 4541"/>
              <a:gd name="T26" fmla="*/ 2147483647 w 6736"/>
              <a:gd name="T27" fmla="*/ 2147483647 h 4541"/>
              <a:gd name="T28" fmla="*/ 2147483647 w 6736"/>
              <a:gd name="T29" fmla="*/ 2147483647 h 4541"/>
              <a:gd name="T30" fmla="*/ 2147483647 w 6736"/>
              <a:gd name="T31" fmla="*/ 2147483647 h 4541"/>
              <a:gd name="T32" fmla="*/ 2147483647 w 6736"/>
              <a:gd name="T33" fmla="*/ 2147483647 h 4541"/>
              <a:gd name="T34" fmla="*/ 2147483647 w 6736"/>
              <a:gd name="T35" fmla="*/ 2147483647 h 4541"/>
              <a:gd name="T36" fmla="*/ 2147483647 w 6736"/>
              <a:gd name="T37" fmla="*/ 2147483647 h 4541"/>
              <a:gd name="T38" fmla="*/ 2147483647 w 6736"/>
              <a:gd name="T39" fmla="*/ 2147483647 h 4541"/>
              <a:gd name="T40" fmla="*/ 2147483647 w 6736"/>
              <a:gd name="T41" fmla="*/ 2147483647 h 4541"/>
              <a:gd name="T42" fmla="*/ 2147483647 w 6736"/>
              <a:gd name="T43" fmla="*/ 2147483647 h 4541"/>
              <a:gd name="T44" fmla="*/ 2147483647 w 6736"/>
              <a:gd name="T45" fmla="*/ 2147483647 h 4541"/>
              <a:gd name="T46" fmla="*/ 2147483647 w 6736"/>
              <a:gd name="T47" fmla="*/ 2147483647 h 4541"/>
              <a:gd name="T48" fmla="*/ 2147483647 w 6736"/>
              <a:gd name="T49" fmla="*/ 2147483647 h 4541"/>
              <a:gd name="T50" fmla="*/ 2147483647 w 6736"/>
              <a:gd name="T51" fmla="*/ 2147483647 h 4541"/>
              <a:gd name="T52" fmla="*/ 2147483647 w 6736"/>
              <a:gd name="T53" fmla="*/ 2147483647 h 4541"/>
              <a:gd name="T54" fmla="*/ 2147483647 w 6736"/>
              <a:gd name="T55" fmla="*/ 2147483647 h 4541"/>
              <a:gd name="T56" fmla="*/ 2147483647 w 6736"/>
              <a:gd name="T57" fmla="*/ 2147483647 h 4541"/>
              <a:gd name="T58" fmla="*/ 2147483647 w 6736"/>
              <a:gd name="T59" fmla="*/ 2147483647 h 4541"/>
              <a:gd name="T60" fmla="*/ 2147483647 w 6736"/>
              <a:gd name="T61" fmla="*/ 2147483647 h 4541"/>
              <a:gd name="T62" fmla="*/ 2147483647 w 6736"/>
              <a:gd name="T63" fmla="*/ 2147483647 h 4541"/>
              <a:gd name="T64" fmla="*/ 2147483647 w 6736"/>
              <a:gd name="T65" fmla="*/ 2147483647 h 4541"/>
              <a:gd name="T66" fmla="*/ 2147483647 w 6736"/>
              <a:gd name="T67" fmla="*/ 2147483647 h 4541"/>
              <a:gd name="T68" fmla="*/ 2147483647 w 6736"/>
              <a:gd name="T69" fmla="*/ 2147483647 h 4541"/>
              <a:gd name="T70" fmla="*/ 2147483647 w 6736"/>
              <a:gd name="T71" fmla="*/ 2147483647 h 4541"/>
              <a:gd name="T72" fmla="*/ 2147483647 w 6736"/>
              <a:gd name="T73" fmla="*/ 2147483647 h 4541"/>
              <a:gd name="T74" fmla="*/ 2147483647 w 6736"/>
              <a:gd name="T75" fmla="*/ 2147483647 h 4541"/>
              <a:gd name="T76" fmla="*/ 2147483647 w 6736"/>
              <a:gd name="T77" fmla="*/ 2147483647 h 4541"/>
              <a:gd name="T78" fmla="*/ 2147483647 w 6736"/>
              <a:gd name="T79" fmla="*/ 2147483647 h 4541"/>
              <a:gd name="T80" fmla="*/ 2147483647 w 6736"/>
              <a:gd name="T81" fmla="*/ 2147483647 h 4541"/>
              <a:gd name="T82" fmla="*/ 2147483647 w 6736"/>
              <a:gd name="T83" fmla="*/ 2147483647 h 4541"/>
              <a:gd name="T84" fmla="*/ 2147483647 w 6736"/>
              <a:gd name="T85" fmla="*/ 2147483647 h 4541"/>
              <a:gd name="T86" fmla="*/ 2147483647 w 6736"/>
              <a:gd name="T87" fmla="*/ 2147483647 h 4541"/>
              <a:gd name="T88" fmla="*/ 2147483647 w 6736"/>
              <a:gd name="T89" fmla="*/ 2147483647 h 4541"/>
              <a:gd name="T90" fmla="*/ 2147483647 w 6736"/>
              <a:gd name="T91" fmla="*/ 2147483647 h 4541"/>
              <a:gd name="T92" fmla="*/ 2147483647 w 6736"/>
              <a:gd name="T93" fmla="*/ 2147483647 h 4541"/>
              <a:gd name="T94" fmla="*/ 2147483647 w 6736"/>
              <a:gd name="T95" fmla="*/ 2147483647 h 4541"/>
              <a:gd name="T96" fmla="*/ 2147483647 w 6736"/>
              <a:gd name="T97" fmla="*/ 2147483647 h 4541"/>
              <a:gd name="T98" fmla="*/ 2147483647 w 6736"/>
              <a:gd name="T99" fmla="*/ 2147483647 h 4541"/>
              <a:gd name="T100" fmla="*/ 2147483647 w 6736"/>
              <a:gd name="T101" fmla="*/ 2147483647 h 4541"/>
              <a:gd name="T102" fmla="*/ 2147483647 w 6736"/>
              <a:gd name="T103" fmla="*/ 2147483647 h 4541"/>
              <a:gd name="T104" fmla="*/ 2147483647 w 6736"/>
              <a:gd name="T105" fmla="*/ 2147483647 h 4541"/>
              <a:gd name="T106" fmla="*/ 2147483647 w 6736"/>
              <a:gd name="T107" fmla="*/ 2147483647 h 4541"/>
              <a:gd name="T108" fmla="*/ 2147483647 w 6736"/>
              <a:gd name="T109" fmla="*/ 2147483647 h 4541"/>
              <a:gd name="T110" fmla="*/ 2147483647 w 6736"/>
              <a:gd name="T111" fmla="*/ 2147483647 h 4541"/>
              <a:gd name="T112" fmla="*/ 2147483647 w 6736"/>
              <a:gd name="T113" fmla="*/ 2147483647 h 4541"/>
              <a:gd name="T114" fmla="*/ 2147483647 w 6736"/>
              <a:gd name="T115" fmla="*/ 2147483647 h 4541"/>
              <a:gd name="T116" fmla="*/ 2147483647 w 6736"/>
              <a:gd name="T117" fmla="*/ 2147483647 h 4541"/>
              <a:gd name="T118" fmla="*/ 2147483647 w 6736"/>
              <a:gd name="T119" fmla="*/ 2147483647 h 4541"/>
              <a:gd name="T120" fmla="*/ 2147483647 w 6736"/>
              <a:gd name="T121" fmla="*/ 2147483647 h 4541"/>
              <a:gd name="T122" fmla="*/ 2147483647 w 6736"/>
              <a:gd name="T123" fmla="*/ 2147483647 h 4541"/>
              <a:gd name="T124" fmla="*/ 2147483647 w 6736"/>
              <a:gd name="T125" fmla="*/ 2147483647 h 45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36"/>
              <a:gd name="T190" fmla="*/ 0 h 4541"/>
              <a:gd name="T191" fmla="*/ 6736 w 6736"/>
              <a:gd name="T192" fmla="*/ 4541 h 45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36" h="4541">
                <a:moveTo>
                  <a:pt x="4752" y="4109"/>
                </a:moveTo>
                <a:lnTo>
                  <a:pt x="4908" y="4050"/>
                </a:lnTo>
                <a:lnTo>
                  <a:pt x="5206" y="4117"/>
                </a:lnTo>
                <a:lnTo>
                  <a:pt x="5204" y="4187"/>
                </a:lnTo>
                <a:lnTo>
                  <a:pt x="5157" y="4175"/>
                </a:lnTo>
                <a:lnTo>
                  <a:pt x="5157" y="4194"/>
                </a:lnTo>
                <a:lnTo>
                  <a:pt x="4779" y="4194"/>
                </a:lnTo>
                <a:lnTo>
                  <a:pt x="4779" y="4153"/>
                </a:lnTo>
                <a:lnTo>
                  <a:pt x="4733" y="4163"/>
                </a:lnTo>
                <a:lnTo>
                  <a:pt x="4725" y="4165"/>
                </a:lnTo>
                <a:lnTo>
                  <a:pt x="4717" y="4165"/>
                </a:lnTo>
                <a:lnTo>
                  <a:pt x="4708" y="4163"/>
                </a:lnTo>
                <a:lnTo>
                  <a:pt x="4701" y="4160"/>
                </a:lnTo>
                <a:lnTo>
                  <a:pt x="4695" y="4155"/>
                </a:lnTo>
                <a:lnTo>
                  <a:pt x="4688" y="4150"/>
                </a:lnTo>
                <a:lnTo>
                  <a:pt x="4684" y="4143"/>
                </a:lnTo>
                <a:lnTo>
                  <a:pt x="4679" y="4134"/>
                </a:lnTo>
                <a:lnTo>
                  <a:pt x="4678" y="4126"/>
                </a:lnTo>
                <a:lnTo>
                  <a:pt x="4678" y="4117"/>
                </a:lnTo>
                <a:lnTo>
                  <a:pt x="4678" y="4107"/>
                </a:lnTo>
                <a:lnTo>
                  <a:pt x="4679" y="4099"/>
                </a:lnTo>
                <a:lnTo>
                  <a:pt x="4683" y="4089"/>
                </a:lnTo>
                <a:lnTo>
                  <a:pt x="4689" y="4078"/>
                </a:lnTo>
                <a:lnTo>
                  <a:pt x="4696" y="4070"/>
                </a:lnTo>
                <a:lnTo>
                  <a:pt x="4706" y="4061"/>
                </a:lnTo>
                <a:lnTo>
                  <a:pt x="4855" y="3941"/>
                </a:lnTo>
                <a:lnTo>
                  <a:pt x="4866" y="3933"/>
                </a:lnTo>
                <a:lnTo>
                  <a:pt x="4878" y="3928"/>
                </a:lnTo>
                <a:lnTo>
                  <a:pt x="4891" y="3923"/>
                </a:lnTo>
                <a:lnTo>
                  <a:pt x="4905" y="3919"/>
                </a:lnTo>
                <a:lnTo>
                  <a:pt x="4916" y="3916"/>
                </a:lnTo>
                <a:lnTo>
                  <a:pt x="4932" y="3916"/>
                </a:lnTo>
                <a:lnTo>
                  <a:pt x="4961" y="3914"/>
                </a:lnTo>
                <a:lnTo>
                  <a:pt x="5277" y="3914"/>
                </a:lnTo>
                <a:lnTo>
                  <a:pt x="5277" y="3982"/>
                </a:lnTo>
                <a:lnTo>
                  <a:pt x="4959" y="3980"/>
                </a:lnTo>
                <a:lnTo>
                  <a:pt x="4937" y="3980"/>
                </a:lnTo>
                <a:lnTo>
                  <a:pt x="4918" y="3985"/>
                </a:lnTo>
                <a:lnTo>
                  <a:pt x="4898" y="3994"/>
                </a:lnTo>
                <a:lnTo>
                  <a:pt x="4879" y="4004"/>
                </a:lnTo>
                <a:lnTo>
                  <a:pt x="4744" y="4095"/>
                </a:lnTo>
                <a:lnTo>
                  <a:pt x="4740" y="4097"/>
                </a:lnTo>
                <a:lnTo>
                  <a:pt x="4739" y="4100"/>
                </a:lnTo>
                <a:lnTo>
                  <a:pt x="4739" y="4102"/>
                </a:lnTo>
                <a:lnTo>
                  <a:pt x="4739" y="4106"/>
                </a:lnTo>
                <a:lnTo>
                  <a:pt x="4740" y="4107"/>
                </a:lnTo>
                <a:lnTo>
                  <a:pt x="4744" y="4109"/>
                </a:lnTo>
                <a:lnTo>
                  <a:pt x="4747" y="4109"/>
                </a:lnTo>
                <a:lnTo>
                  <a:pt x="4752" y="4109"/>
                </a:lnTo>
                <a:close/>
                <a:moveTo>
                  <a:pt x="5967" y="4499"/>
                </a:moveTo>
                <a:lnTo>
                  <a:pt x="5918" y="4243"/>
                </a:lnTo>
                <a:lnTo>
                  <a:pt x="6255" y="3873"/>
                </a:lnTo>
                <a:lnTo>
                  <a:pt x="6204" y="3828"/>
                </a:lnTo>
                <a:lnTo>
                  <a:pt x="5880" y="4182"/>
                </a:lnTo>
                <a:lnTo>
                  <a:pt x="5320" y="4182"/>
                </a:lnTo>
                <a:lnTo>
                  <a:pt x="5320" y="3912"/>
                </a:lnTo>
                <a:lnTo>
                  <a:pt x="5653" y="3838"/>
                </a:lnTo>
                <a:lnTo>
                  <a:pt x="5796" y="3628"/>
                </a:lnTo>
                <a:lnTo>
                  <a:pt x="5772" y="3506"/>
                </a:lnTo>
                <a:lnTo>
                  <a:pt x="5770" y="3489"/>
                </a:lnTo>
                <a:lnTo>
                  <a:pt x="5769" y="3474"/>
                </a:lnTo>
                <a:lnTo>
                  <a:pt x="5770" y="3457"/>
                </a:lnTo>
                <a:lnTo>
                  <a:pt x="5772" y="3441"/>
                </a:lnTo>
                <a:lnTo>
                  <a:pt x="5777" y="3424"/>
                </a:lnTo>
                <a:lnTo>
                  <a:pt x="5782" y="3409"/>
                </a:lnTo>
                <a:lnTo>
                  <a:pt x="5789" y="3394"/>
                </a:lnTo>
                <a:lnTo>
                  <a:pt x="5796" y="3379"/>
                </a:lnTo>
                <a:lnTo>
                  <a:pt x="5813" y="3350"/>
                </a:lnTo>
                <a:lnTo>
                  <a:pt x="5831" y="3326"/>
                </a:lnTo>
                <a:lnTo>
                  <a:pt x="5853" y="3304"/>
                </a:lnTo>
                <a:lnTo>
                  <a:pt x="5864" y="3296"/>
                </a:lnTo>
                <a:lnTo>
                  <a:pt x="5874" y="3289"/>
                </a:lnTo>
                <a:lnTo>
                  <a:pt x="6057" y="3172"/>
                </a:lnTo>
                <a:lnTo>
                  <a:pt x="6096" y="3155"/>
                </a:lnTo>
                <a:lnTo>
                  <a:pt x="6114" y="3150"/>
                </a:lnTo>
                <a:lnTo>
                  <a:pt x="6131" y="3145"/>
                </a:lnTo>
                <a:lnTo>
                  <a:pt x="6148" y="3141"/>
                </a:lnTo>
                <a:lnTo>
                  <a:pt x="6165" y="3141"/>
                </a:lnTo>
                <a:lnTo>
                  <a:pt x="6180" y="3141"/>
                </a:lnTo>
                <a:lnTo>
                  <a:pt x="6194" y="3143"/>
                </a:lnTo>
                <a:lnTo>
                  <a:pt x="6207" y="3148"/>
                </a:lnTo>
                <a:lnTo>
                  <a:pt x="6221" y="3153"/>
                </a:lnTo>
                <a:lnTo>
                  <a:pt x="6233" y="3162"/>
                </a:lnTo>
                <a:lnTo>
                  <a:pt x="6243" y="3172"/>
                </a:lnTo>
                <a:lnTo>
                  <a:pt x="6253" y="3185"/>
                </a:lnTo>
                <a:lnTo>
                  <a:pt x="6263" y="3201"/>
                </a:lnTo>
                <a:lnTo>
                  <a:pt x="6272" y="3218"/>
                </a:lnTo>
                <a:lnTo>
                  <a:pt x="6279" y="3238"/>
                </a:lnTo>
                <a:lnTo>
                  <a:pt x="6736" y="4382"/>
                </a:lnTo>
                <a:lnTo>
                  <a:pt x="6706" y="4541"/>
                </a:lnTo>
                <a:lnTo>
                  <a:pt x="5967" y="4499"/>
                </a:lnTo>
                <a:close/>
                <a:moveTo>
                  <a:pt x="769" y="4499"/>
                </a:moveTo>
                <a:lnTo>
                  <a:pt x="30" y="4541"/>
                </a:lnTo>
                <a:lnTo>
                  <a:pt x="0" y="4382"/>
                </a:lnTo>
                <a:lnTo>
                  <a:pt x="457" y="3238"/>
                </a:lnTo>
                <a:lnTo>
                  <a:pt x="466" y="3218"/>
                </a:lnTo>
                <a:lnTo>
                  <a:pt x="474" y="3201"/>
                </a:lnTo>
                <a:lnTo>
                  <a:pt x="483" y="3185"/>
                </a:lnTo>
                <a:lnTo>
                  <a:pt x="493" y="3172"/>
                </a:lnTo>
                <a:lnTo>
                  <a:pt x="505" y="3162"/>
                </a:lnTo>
                <a:lnTo>
                  <a:pt x="517" y="3153"/>
                </a:lnTo>
                <a:lnTo>
                  <a:pt x="529" y="3148"/>
                </a:lnTo>
                <a:lnTo>
                  <a:pt x="542" y="3143"/>
                </a:lnTo>
                <a:lnTo>
                  <a:pt x="557" y="3141"/>
                </a:lnTo>
                <a:lnTo>
                  <a:pt x="573" y="3141"/>
                </a:lnTo>
                <a:lnTo>
                  <a:pt x="588" y="3141"/>
                </a:lnTo>
                <a:lnTo>
                  <a:pt x="605" y="3145"/>
                </a:lnTo>
                <a:lnTo>
                  <a:pt x="622" y="3150"/>
                </a:lnTo>
                <a:lnTo>
                  <a:pt x="640" y="3155"/>
                </a:lnTo>
                <a:lnTo>
                  <a:pt x="679" y="3172"/>
                </a:lnTo>
                <a:lnTo>
                  <a:pt x="862" y="3289"/>
                </a:lnTo>
                <a:lnTo>
                  <a:pt x="874" y="3296"/>
                </a:lnTo>
                <a:lnTo>
                  <a:pt x="884" y="3304"/>
                </a:lnTo>
                <a:lnTo>
                  <a:pt x="905" y="3326"/>
                </a:lnTo>
                <a:lnTo>
                  <a:pt x="925" y="3350"/>
                </a:lnTo>
                <a:lnTo>
                  <a:pt x="942" y="3379"/>
                </a:lnTo>
                <a:lnTo>
                  <a:pt x="949" y="3394"/>
                </a:lnTo>
                <a:lnTo>
                  <a:pt x="956" y="3409"/>
                </a:lnTo>
                <a:lnTo>
                  <a:pt x="961" y="3424"/>
                </a:lnTo>
                <a:lnTo>
                  <a:pt x="964" y="3441"/>
                </a:lnTo>
                <a:lnTo>
                  <a:pt x="967" y="3457"/>
                </a:lnTo>
                <a:lnTo>
                  <a:pt x="967" y="3474"/>
                </a:lnTo>
                <a:lnTo>
                  <a:pt x="967" y="3489"/>
                </a:lnTo>
                <a:lnTo>
                  <a:pt x="966" y="3506"/>
                </a:lnTo>
                <a:lnTo>
                  <a:pt x="942" y="3628"/>
                </a:lnTo>
                <a:lnTo>
                  <a:pt x="1084" y="3838"/>
                </a:lnTo>
                <a:lnTo>
                  <a:pt x="1416" y="3912"/>
                </a:lnTo>
                <a:lnTo>
                  <a:pt x="1416" y="4182"/>
                </a:lnTo>
                <a:lnTo>
                  <a:pt x="856" y="4182"/>
                </a:lnTo>
                <a:lnTo>
                  <a:pt x="532" y="3828"/>
                </a:lnTo>
                <a:lnTo>
                  <a:pt x="481" y="3873"/>
                </a:lnTo>
                <a:lnTo>
                  <a:pt x="820" y="4243"/>
                </a:lnTo>
                <a:lnTo>
                  <a:pt x="769" y="4499"/>
                </a:lnTo>
                <a:close/>
                <a:moveTo>
                  <a:pt x="5967" y="2096"/>
                </a:moveTo>
                <a:lnTo>
                  <a:pt x="5918" y="1840"/>
                </a:lnTo>
                <a:lnTo>
                  <a:pt x="6255" y="1471"/>
                </a:lnTo>
                <a:lnTo>
                  <a:pt x="6206" y="1425"/>
                </a:lnTo>
                <a:lnTo>
                  <a:pt x="5880" y="1779"/>
                </a:lnTo>
                <a:lnTo>
                  <a:pt x="5320" y="1779"/>
                </a:lnTo>
                <a:lnTo>
                  <a:pt x="5320" y="1510"/>
                </a:lnTo>
                <a:lnTo>
                  <a:pt x="5653" y="1433"/>
                </a:lnTo>
                <a:lnTo>
                  <a:pt x="5796" y="1225"/>
                </a:lnTo>
                <a:lnTo>
                  <a:pt x="5772" y="1101"/>
                </a:lnTo>
                <a:lnTo>
                  <a:pt x="5770" y="1086"/>
                </a:lnTo>
                <a:lnTo>
                  <a:pt x="5769" y="1071"/>
                </a:lnTo>
                <a:lnTo>
                  <a:pt x="5770" y="1054"/>
                </a:lnTo>
                <a:lnTo>
                  <a:pt x="5772" y="1037"/>
                </a:lnTo>
                <a:lnTo>
                  <a:pt x="5777" y="1022"/>
                </a:lnTo>
                <a:lnTo>
                  <a:pt x="5782" y="1006"/>
                </a:lnTo>
                <a:lnTo>
                  <a:pt x="5789" y="991"/>
                </a:lnTo>
                <a:lnTo>
                  <a:pt x="5796" y="976"/>
                </a:lnTo>
                <a:lnTo>
                  <a:pt x="5813" y="947"/>
                </a:lnTo>
                <a:lnTo>
                  <a:pt x="5831" y="922"/>
                </a:lnTo>
                <a:lnTo>
                  <a:pt x="5853" y="901"/>
                </a:lnTo>
                <a:lnTo>
                  <a:pt x="5864" y="893"/>
                </a:lnTo>
                <a:lnTo>
                  <a:pt x="5874" y="884"/>
                </a:lnTo>
                <a:lnTo>
                  <a:pt x="6057" y="769"/>
                </a:lnTo>
                <a:lnTo>
                  <a:pt x="6096" y="752"/>
                </a:lnTo>
                <a:lnTo>
                  <a:pt x="6114" y="747"/>
                </a:lnTo>
                <a:lnTo>
                  <a:pt x="6131" y="742"/>
                </a:lnTo>
                <a:lnTo>
                  <a:pt x="6148" y="739"/>
                </a:lnTo>
                <a:lnTo>
                  <a:pt x="6165" y="737"/>
                </a:lnTo>
                <a:lnTo>
                  <a:pt x="6180" y="739"/>
                </a:lnTo>
                <a:lnTo>
                  <a:pt x="6194" y="740"/>
                </a:lnTo>
                <a:lnTo>
                  <a:pt x="6207" y="744"/>
                </a:lnTo>
                <a:lnTo>
                  <a:pt x="6221" y="751"/>
                </a:lnTo>
                <a:lnTo>
                  <a:pt x="6233" y="759"/>
                </a:lnTo>
                <a:lnTo>
                  <a:pt x="6243" y="769"/>
                </a:lnTo>
                <a:lnTo>
                  <a:pt x="6253" y="783"/>
                </a:lnTo>
                <a:lnTo>
                  <a:pt x="6263" y="798"/>
                </a:lnTo>
                <a:lnTo>
                  <a:pt x="6272" y="815"/>
                </a:lnTo>
                <a:lnTo>
                  <a:pt x="6279" y="835"/>
                </a:lnTo>
                <a:lnTo>
                  <a:pt x="6736" y="1977"/>
                </a:lnTo>
                <a:lnTo>
                  <a:pt x="6706" y="2138"/>
                </a:lnTo>
                <a:lnTo>
                  <a:pt x="5967" y="2096"/>
                </a:lnTo>
                <a:close/>
                <a:moveTo>
                  <a:pt x="769" y="2096"/>
                </a:moveTo>
                <a:lnTo>
                  <a:pt x="30" y="2138"/>
                </a:lnTo>
                <a:lnTo>
                  <a:pt x="0" y="1977"/>
                </a:lnTo>
                <a:lnTo>
                  <a:pt x="457" y="835"/>
                </a:lnTo>
                <a:lnTo>
                  <a:pt x="464" y="815"/>
                </a:lnTo>
                <a:lnTo>
                  <a:pt x="474" y="798"/>
                </a:lnTo>
                <a:lnTo>
                  <a:pt x="483" y="783"/>
                </a:lnTo>
                <a:lnTo>
                  <a:pt x="493" y="769"/>
                </a:lnTo>
                <a:lnTo>
                  <a:pt x="505" y="759"/>
                </a:lnTo>
                <a:lnTo>
                  <a:pt x="517" y="751"/>
                </a:lnTo>
                <a:lnTo>
                  <a:pt x="529" y="744"/>
                </a:lnTo>
                <a:lnTo>
                  <a:pt x="542" y="740"/>
                </a:lnTo>
                <a:lnTo>
                  <a:pt x="557" y="739"/>
                </a:lnTo>
                <a:lnTo>
                  <a:pt x="573" y="737"/>
                </a:lnTo>
                <a:lnTo>
                  <a:pt x="588" y="739"/>
                </a:lnTo>
                <a:lnTo>
                  <a:pt x="605" y="742"/>
                </a:lnTo>
                <a:lnTo>
                  <a:pt x="622" y="747"/>
                </a:lnTo>
                <a:lnTo>
                  <a:pt x="640" y="752"/>
                </a:lnTo>
                <a:lnTo>
                  <a:pt x="679" y="769"/>
                </a:lnTo>
                <a:lnTo>
                  <a:pt x="862" y="884"/>
                </a:lnTo>
                <a:lnTo>
                  <a:pt x="874" y="893"/>
                </a:lnTo>
                <a:lnTo>
                  <a:pt x="884" y="901"/>
                </a:lnTo>
                <a:lnTo>
                  <a:pt x="905" y="922"/>
                </a:lnTo>
                <a:lnTo>
                  <a:pt x="925" y="947"/>
                </a:lnTo>
                <a:lnTo>
                  <a:pt x="942" y="976"/>
                </a:lnTo>
                <a:lnTo>
                  <a:pt x="949" y="991"/>
                </a:lnTo>
                <a:lnTo>
                  <a:pt x="956" y="1006"/>
                </a:lnTo>
                <a:lnTo>
                  <a:pt x="961" y="1022"/>
                </a:lnTo>
                <a:lnTo>
                  <a:pt x="964" y="1039"/>
                </a:lnTo>
                <a:lnTo>
                  <a:pt x="967" y="1054"/>
                </a:lnTo>
                <a:lnTo>
                  <a:pt x="967" y="1071"/>
                </a:lnTo>
                <a:lnTo>
                  <a:pt x="967" y="1086"/>
                </a:lnTo>
                <a:lnTo>
                  <a:pt x="966" y="1101"/>
                </a:lnTo>
                <a:lnTo>
                  <a:pt x="940" y="1225"/>
                </a:lnTo>
                <a:lnTo>
                  <a:pt x="1084" y="1433"/>
                </a:lnTo>
                <a:lnTo>
                  <a:pt x="1416" y="1510"/>
                </a:lnTo>
                <a:lnTo>
                  <a:pt x="1416" y="1779"/>
                </a:lnTo>
                <a:lnTo>
                  <a:pt x="856" y="1779"/>
                </a:lnTo>
                <a:lnTo>
                  <a:pt x="532" y="1425"/>
                </a:lnTo>
                <a:lnTo>
                  <a:pt x="481" y="1471"/>
                </a:lnTo>
                <a:lnTo>
                  <a:pt x="820" y="1840"/>
                </a:lnTo>
                <a:lnTo>
                  <a:pt x="769" y="2096"/>
                </a:lnTo>
                <a:close/>
                <a:moveTo>
                  <a:pt x="2555" y="293"/>
                </a:moveTo>
                <a:lnTo>
                  <a:pt x="2555" y="293"/>
                </a:lnTo>
                <a:lnTo>
                  <a:pt x="2550" y="373"/>
                </a:lnTo>
                <a:lnTo>
                  <a:pt x="2545" y="452"/>
                </a:lnTo>
                <a:lnTo>
                  <a:pt x="2540" y="530"/>
                </a:lnTo>
                <a:lnTo>
                  <a:pt x="2531" y="610"/>
                </a:lnTo>
                <a:lnTo>
                  <a:pt x="2523" y="688"/>
                </a:lnTo>
                <a:lnTo>
                  <a:pt x="2512" y="766"/>
                </a:lnTo>
                <a:lnTo>
                  <a:pt x="2502" y="844"/>
                </a:lnTo>
                <a:lnTo>
                  <a:pt x="2490" y="922"/>
                </a:lnTo>
                <a:lnTo>
                  <a:pt x="2811" y="1745"/>
                </a:lnTo>
                <a:lnTo>
                  <a:pt x="2817" y="1760"/>
                </a:lnTo>
                <a:lnTo>
                  <a:pt x="2821" y="1776"/>
                </a:lnTo>
                <a:lnTo>
                  <a:pt x="2824" y="1791"/>
                </a:lnTo>
                <a:lnTo>
                  <a:pt x="2824" y="1808"/>
                </a:lnTo>
                <a:lnTo>
                  <a:pt x="2824" y="1823"/>
                </a:lnTo>
                <a:lnTo>
                  <a:pt x="2822" y="1838"/>
                </a:lnTo>
                <a:lnTo>
                  <a:pt x="2821" y="1854"/>
                </a:lnTo>
                <a:lnTo>
                  <a:pt x="2816" y="1867"/>
                </a:lnTo>
                <a:lnTo>
                  <a:pt x="2809" y="1881"/>
                </a:lnTo>
                <a:lnTo>
                  <a:pt x="2800" y="1893"/>
                </a:lnTo>
                <a:lnTo>
                  <a:pt x="2790" y="1903"/>
                </a:lnTo>
                <a:lnTo>
                  <a:pt x="2778" y="1913"/>
                </a:lnTo>
                <a:lnTo>
                  <a:pt x="2765" y="1920"/>
                </a:lnTo>
                <a:lnTo>
                  <a:pt x="2748" y="1927"/>
                </a:lnTo>
                <a:lnTo>
                  <a:pt x="2729" y="1930"/>
                </a:lnTo>
                <a:lnTo>
                  <a:pt x="2709" y="1930"/>
                </a:lnTo>
                <a:lnTo>
                  <a:pt x="1040" y="1930"/>
                </a:lnTo>
                <a:lnTo>
                  <a:pt x="1040" y="1862"/>
                </a:lnTo>
                <a:lnTo>
                  <a:pt x="2709" y="1862"/>
                </a:lnTo>
                <a:lnTo>
                  <a:pt x="2724" y="1862"/>
                </a:lnTo>
                <a:lnTo>
                  <a:pt x="2736" y="1857"/>
                </a:lnTo>
                <a:lnTo>
                  <a:pt x="2746" y="1850"/>
                </a:lnTo>
                <a:lnTo>
                  <a:pt x="2750" y="1845"/>
                </a:lnTo>
                <a:lnTo>
                  <a:pt x="2753" y="1840"/>
                </a:lnTo>
                <a:lnTo>
                  <a:pt x="2756" y="1833"/>
                </a:lnTo>
                <a:lnTo>
                  <a:pt x="2758" y="1827"/>
                </a:lnTo>
                <a:lnTo>
                  <a:pt x="2758" y="1811"/>
                </a:lnTo>
                <a:lnTo>
                  <a:pt x="2755" y="1793"/>
                </a:lnTo>
                <a:lnTo>
                  <a:pt x="2748" y="1769"/>
                </a:lnTo>
                <a:lnTo>
                  <a:pt x="2467" y="1049"/>
                </a:lnTo>
                <a:lnTo>
                  <a:pt x="2453" y="1120"/>
                </a:lnTo>
                <a:lnTo>
                  <a:pt x="2438" y="1191"/>
                </a:lnTo>
                <a:lnTo>
                  <a:pt x="2421" y="1262"/>
                </a:lnTo>
                <a:lnTo>
                  <a:pt x="2404" y="1333"/>
                </a:lnTo>
                <a:lnTo>
                  <a:pt x="2387" y="1405"/>
                </a:lnTo>
                <a:lnTo>
                  <a:pt x="2367" y="1474"/>
                </a:lnTo>
                <a:lnTo>
                  <a:pt x="2326" y="1615"/>
                </a:lnTo>
                <a:lnTo>
                  <a:pt x="2230" y="1596"/>
                </a:lnTo>
                <a:lnTo>
                  <a:pt x="2458" y="274"/>
                </a:lnTo>
                <a:lnTo>
                  <a:pt x="2555" y="293"/>
                </a:lnTo>
                <a:close/>
                <a:moveTo>
                  <a:pt x="1062" y="178"/>
                </a:moveTo>
                <a:lnTo>
                  <a:pt x="1062" y="178"/>
                </a:lnTo>
                <a:lnTo>
                  <a:pt x="1076" y="210"/>
                </a:lnTo>
                <a:lnTo>
                  <a:pt x="1086" y="242"/>
                </a:lnTo>
                <a:lnTo>
                  <a:pt x="1089" y="261"/>
                </a:lnTo>
                <a:lnTo>
                  <a:pt x="1091" y="278"/>
                </a:lnTo>
                <a:lnTo>
                  <a:pt x="1093" y="297"/>
                </a:lnTo>
                <a:lnTo>
                  <a:pt x="1093" y="313"/>
                </a:lnTo>
                <a:lnTo>
                  <a:pt x="1093" y="391"/>
                </a:lnTo>
                <a:lnTo>
                  <a:pt x="1093" y="420"/>
                </a:lnTo>
                <a:lnTo>
                  <a:pt x="1088" y="449"/>
                </a:lnTo>
                <a:lnTo>
                  <a:pt x="1081" y="476"/>
                </a:lnTo>
                <a:lnTo>
                  <a:pt x="1072" y="503"/>
                </a:lnTo>
                <a:lnTo>
                  <a:pt x="1062" y="529"/>
                </a:lnTo>
                <a:lnTo>
                  <a:pt x="1049" y="552"/>
                </a:lnTo>
                <a:lnTo>
                  <a:pt x="1033" y="574"/>
                </a:lnTo>
                <a:lnTo>
                  <a:pt x="1016" y="595"/>
                </a:lnTo>
                <a:lnTo>
                  <a:pt x="998" y="613"/>
                </a:lnTo>
                <a:lnTo>
                  <a:pt x="978" y="630"/>
                </a:lnTo>
                <a:lnTo>
                  <a:pt x="957" y="646"/>
                </a:lnTo>
                <a:lnTo>
                  <a:pt x="933" y="657"/>
                </a:lnTo>
                <a:lnTo>
                  <a:pt x="910" y="668"/>
                </a:lnTo>
                <a:lnTo>
                  <a:pt x="883" y="674"/>
                </a:lnTo>
                <a:lnTo>
                  <a:pt x="857" y="679"/>
                </a:lnTo>
                <a:lnTo>
                  <a:pt x="830" y="681"/>
                </a:lnTo>
                <a:lnTo>
                  <a:pt x="803" y="679"/>
                </a:lnTo>
                <a:lnTo>
                  <a:pt x="778" y="676"/>
                </a:lnTo>
                <a:lnTo>
                  <a:pt x="754" y="669"/>
                </a:lnTo>
                <a:lnTo>
                  <a:pt x="730" y="661"/>
                </a:lnTo>
                <a:lnTo>
                  <a:pt x="708" y="649"/>
                </a:lnTo>
                <a:lnTo>
                  <a:pt x="688" y="635"/>
                </a:lnTo>
                <a:lnTo>
                  <a:pt x="669" y="620"/>
                </a:lnTo>
                <a:lnTo>
                  <a:pt x="651" y="603"/>
                </a:lnTo>
                <a:lnTo>
                  <a:pt x="634" y="585"/>
                </a:lnTo>
                <a:lnTo>
                  <a:pt x="618" y="566"/>
                </a:lnTo>
                <a:lnTo>
                  <a:pt x="605" y="544"/>
                </a:lnTo>
                <a:lnTo>
                  <a:pt x="593" y="520"/>
                </a:lnTo>
                <a:lnTo>
                  <a:pt x="583" y="496"/>
                </a:lnTo>
                <a:lnTo>
                  <a:pt x="576" y="471"/>
                </a:lnTo>
                <a:lnTo>
                  <a:pt x="571" y="446"/>
                </a:lnTo>
                <a:lnTo>
                  <a:pt x="566" y="419"/>
                </a:lnTo>
                <a:lnTo>
                  <a:pt x="537" y="268"/>
                </a:lnTo>
                <a:lnTo>
                  <a:pt x="535" y="254"/>
                </a:lnTo>
                <a:lnTo>
                  <a:pt x="534" y="239"/>
                </a:lnTo>
                <a:lnTo>
                  <a:pt x="534" y="213"/>
                </a:lnTo>
                <a:lnTo>
                  <a:pt x="539" y="188"/>
                </a:lnTo>
                <a:lnTo>
                  <a:pt x="546" y="164"/>
                </a:lnTo>
                <a:lnTo>
                  <a:pt x="557" y="142"/>
                </a:lnTo>
                <a:lnTo>
                  <a:pt x="569" y="122"/>
                </a:lnTo>
                <a:lnTo>
                  <a:pt x="584" y="103"/>
                </a:lnTo>
                <a:lnTo>
                  <a:pt x="601" y="86"/>
                </a:lnTo>
                <a:lnTo>
                  <a:pt x="620" y="71"/>
                </a:lnTo>
                <a:lnTo>
                  <a:pt x="639" y="58"/>
                </a:lnTo>
                <a:lnTo>
                  <a:pt x="657" y="47"/>
                </a:lnTo>
                <a:lnTo>
                  <a:pt x="676" y="39"/>
                </a:lnTo>
                <a:lnTo>
                  <a:pt x="695" y="32"/>
                </a:lnTo>
                <a:lnTo>
                  <a:pt x="712" y="27"/>
                </a:lnTo>
                <a:lnTo>
                  <a:pt x="728" y="25"/>
                </a:lnTo>
                <a:lnTo>
                  <a:pt x="742" y="25"/>
                </a:lnTo>
                <a:lnTo>
                  <a:pt x="759" y="19"/>
                </a:lnTo>
                <a:lnTo>
                  <a:pt x="776" y="14"/>
                </a:lnTo>
                <a:lnTo>
                  <a:pt x="793" y="8"/>
                </a:lnTo>
                <a:lnTo>
                  <a:pt x="808" y="5"/>
                </a:lnTo>
                <a:lnTo>
                  <a:pt x="839" y="0"/>
                </a:lnTo>
                <a:lnTo>
                  <a:pt x="869" y="0"/>
                </a:lnTo>
                <a:lnTo>
                  <a:pt x="896" y="3"/>
                </a:lnTo>
                <a:lnTo>
                  <a:pt x="923" y="10"/>
                </a:lnTo>
                <a:lnTo>
                  <a:pt x="949" y="19"/>
                </a:lnTo>
                <a:lnTo>
                  <a:pt x="972" y="29"/>
                </a:lnTo>
                <a:lnTo>
                  <a:pt x="994" y="41"/>
                </a:lnTo>
                <a:lnTo>
                  <a:pt x="1015" y="54"/>
                </a:lnTo>
                <a:lnTo>
                  <a:pt x="1033" y="68"/>
                </a:lnTo>
                <a:lnTo>
                  <a:pt x="1050" y="81"/>
                </a:lnTo>
                <a:lnTo>
                  <a:pt x="1077" y="105"/>
                </a:lnTo>
                <a:lnTo>
                  <a:pt x="1098" y="122"/>
                </a:lnTo>
                <a:lnTo>
                  <a:pt x="1062" y="178"/>
                </a:lnTo>
                <a:close/>
                <a:moveTo>
                  <a:pt x="635" y="419"/>
                </a:moveTo>
                <a:lnTo>
                  <a:pt x="635" y="419"/>
                </a:lnTo>
                <a:lnTo>
                  <a:pt x="639" y="441"/>
                </a:lnTo>
                <a:lnTo>
                  <a:pt x="642" y="459"/>
                </a:lnTo>
                <a:lnTo>
                  <a:pt x="649" y="478"/>
                </a:lnTo>
                <a:lnTo>
                  <a:pt x="657" y="496"/>
                </a:lnTo>
                <a:lnTo>
                  <a:pt x="666" y="513"/>
                </a:lnTo>
                <a:lnTo>
                  <a:pt x="676" y="530"/>
                </a:lnTo>
                <a:lnTo>
                  <a:pt x="688" y="544"/>
                </a:lnTo>
                <a:lnTo>
                  <a:pt x="700" y="557"/>
                </a:lnTo>
                <a:lnTo>
                  <a:pt x="713" y="569"/>
                </a:lnTo>
                <a:lnTo>
                  <a:pt x="728" y="581"/>
                </a:lnTo>
                <a:lnTo>
                  <a:pt x="744" y="590"/>
                </a:lnTo>
                <a:lnTo>
                  <a:pt x="759" y="598"/>
                </a:lnTo>
                <a:lnTo>
                  <a:pt x="776" y="605"/>
                </a:lnTo>
                <a:lnTo>
                  <a:pt x="793" y="608"/>
                </a:lnTo>
                <a:lnTo>
                  <a:pt x="812" y="612"/>
                </a:lnTo>
                <a:lnTo>
                  <a:pt x="830" y="613"/>
                </a:lnTo>
                <a:lnTo>
                  <a:pt x="849" y="612"/>
                </a:lnTo>
                <a:lnTo>
                  <a:pt x="867" y="608"/>
                </a:lnTo>
                <a:lnTo>
                  <a:pt x="886" y="603"/>
                </a:lnTo>
                <a:lnTo>
                  <a:pt x="905" y="596"/>
                </a:lnTo>
                <a:lnTo>
                  <a:pt x="922" y="586"/>
                </a:lnTo>
                <a:lnTo>
                  <a:pt x="937" y="576"/>
                </a:lnTo>
                <a:lnTo>
                  <a:pt x="952" y="564"/>
                </a:lnTo>
                <a:lnTo>
                  <a:pt x="967" y="549"/>
                </a:lnTo>
                <a:lnTo>
                  <a:pt x="979" y="534"/>
                </a:lnTo>
                <a:lnTo>
                  <a:pt x="991" y="517"/>
                </a:lnTo>
                <a:lnTo>
                  <a:pt x="1001" y="498"/>
                </a:lnTo>
                <a:lnTo>
                  <a:pt x="1010" y="480"/>
                </a:lnTo>
                <a:lnTo>
                  <a:pt x="1016" y="459"/>
                </a:lnTo>
                <a:lnTo>
                  <a:pt x="1022" y="437"/>
                </a:lnTo>
                <a:lnTo>
                  <a:pt x="1025" y="415"/>
                </a:lnTo>
                <a:lnTo>
                  <a:pt x="1025" y="391"/>
                </a:lnTo>
                <a:lnTo>
                  <a:pt x="1025" y="313"/>
                </a:lnTo>
                <a:lnTo>
                  <a:pt x="1025" y="288"/>
                </a:lnTo>
                <a:lnTo>
                  <a:pt x="1020" y="263"/>
                </a:lnTo>
                <a:lnTo>
                  <a:pt x="1006" y="280"/>
                </a:lnTo>
                <a:lnTo>
                  <a:pt x="989" y="293"/>
                </a:lnTo>
                <a:lnTo>
                  <a:pt x="972" y="305"/>
                </a:lnTo>
                <a:lnTo>
                  <a:pt x="950" y="315"/>
                </a:lnTo>
                <a:lnTo>
                  <a:pt x="927" y="324"/>
                </a:lnTo>
                <a:lnTo>
                  <a:pt x="901" y="330"/>
                </a:lnTo>
                <a:lnTo>
                  <a:pt x="871" y="337"/>
                </a:lnTo>
                <a:lnTo>
                  <a:pt x="837" y="342"/>
                </a:lnTo>
                <a:lnTo>
                  <a:pt x="825" y="396"/>
                </a:lnTo>
                <a:lnTo>
                  <a:pt x="764" y="400"/>
                </a:lnTo>
                <a:lnTo>
                  <a:pt x="764" y="364"/>
                </a:lnTo>
                <a:lnTo>
                  <a:pt x="762" y="349"/>
                </a:lnTo>
                <a:lnTo>
                  <a:pt x="759" y="335"/>
                </a:lnTo>
                <a:lnTo>
                  <a:pt x="752" y="324"/>
                </a:lnTo>
                <a:lnTo>
                  <a:pt x="745" y="313"/>
                </a:lnTo>
                <a:lnTo>
                  <a:pt x="735" y="305"/>
                </a:lnTo>
                <a:lnTo>
                  <a:pt x="725" y="298"/>
                </a:lnTo>
                <a:lnTo>
                  <a:pt x="712" y="293"/>
                </a:lnTo>
                <a:lnTo>
                  <a:pt x="700" y="291"/>
                </a:lnTo>
                <a:lnTo>
                  <a:pt x="686" y="293"/>
                </a:lnTo>
                <a:lnTo>
                  <a:pt x="674" y="298"/>
                </a:lnTo>
                <a:lnTo>
                  <a:pt x="662" y="305"/>
                </a:lnTo>
                <a:lnTo>
                  <a:pt x="654" y="313"/>
                </a:lnTo>
                <a:lnTo>
                  <a:pt x="645" y="324"/>
                </a:lnTo>
                <a:lnTo>
                  <a:pt x="640" y="335"/>
                </a:lnTo>
                <a:lnTo>
                  <a:pt x="635" y="349"/>
                </a:lnTo>
                <a:lnTo>
                  <a:pt x="635" y="364"/>
                </a:lnTo>
                <a:lnTo>
                  <a:pt x="635" y="413"/>
                </a:lnTo>
                <a:lnTo>
                  <a:pt x="635" y="419"/>
                </a:lnTo>
                <a:close/>
                <a:moveTo>
                  <a:pt x="1991" y="1699"/>
                </a:moveTo>
                <a:lnTo>
                  <a:pt x="1991" y="1699"/>
                </a:lnTo>
                <a:lnTo>
                  <a:pt x="1994" y="1701"/>
                </a:lnTo>
                <a:lnTo>
                  <a:pt x="1999" y="1701"/>
                </a:lnTo>
                <a:lnTo>
                  <a:pt x="2001" y="1699"/>
                </a:lnTo>
                <a:lnTo>
                  <a:pt x="2003" y="1698"/>
                </a:lnTo>
                <a:lnTo>
                  <a:pt x="2004" y="1694"/>
                </a:lnTo>
                <a:lnTo>
                  <a:pt x="2003" y="1691"/>
                </a:lnTo>
                <a:lnTo>
                  <a:pt x="2001" y="1689"/>
                </a:lnTo>
                <a:lnTo>
                  <a:pt x="1999" y="1686"/>
                </a:lnTo>
                <a:lnTo>
                  <a:pt x="1864" y="1596"/>
                </a:lnTo>
                <a:lnTo>
                  <a:pt x="1843" y="1584"/>
                </a:lnTo>
                <a:lnTo>
                  <a:pt x="1825" y="1577"/>
                </a:lnTo>
                <a:lnTo>
                  <a:pt x="1804" y="1572"/>
                </a:lnTo>
                <a:lnTo>
                  <a:pt x="1784" y="1571"/>
                </a:lnTo>
                <a:lnTo>
                  <a:pt x="1465" y="1574"/>
                </a:lnTo>
                <a:lnTo>
                  <a:pt x="1465" y="1506"/>
                </a:lnTo>
                <a:lnTo>
                  <a:pt x="1782" y="1506"/>
                </a:lnTo>
                <a:lnTo>
                  <a:pt x="1811" y="1506"/>
                </a:lnTo>
                <a:lnTo>
                  <a:pt x="1825" y="1508"/>
                </a:lnTo>
                <a:lnTo>
                  <a:pt x="1838" y="1511"/>
                </a:lnTo>
                <a:lnTo>
                  <a:pt x="1852" y="1515"/>
                </a:lnTo>
                <a:lnTo>
                  <a:pt x="1864" y="1520"/>
                </a:lnTo>
                <a:lnTo>
                  <a:pt x="1875" y="1525"/>
                </a:lnTo>
                <a:lnTo>
                  <a:pt x="1887" y="1533"/>
                </a:lnTo>
                <a:lnTo>
                  <a:pt x="2036" y="1652"/>
                </a:lnTo>
                <a:lnTo>
                  <a:pt x="2045" y="1662"/>
                </a:lnTo>
                <a:lnTo>
                  <a:pt x="2053" y="1671"/>
                </a:lnTo>
                <a:lnTo>
                  <a:pt x="2058" y="1681"/>
                </a:lnTo>
                <a:lnTo>
                  <a:pt x="2062" y="1691"/>
                </a:lnTo>
                <a:lnTo>
                  <a:pt x="2065" y="1699"/>
                </a:lnTo>
                <a:lnTo>
                  <a:pt x="2065" y="1710"/>
                </a:lnTo>
                <a:lnTo>
                  <a:pt x="2063" y="1718"/>
                </a:lnTo>
                <a:lnTo>
                  <a:pt x="2062" y="1727"/>
                </a:lnTo>
                <a:lnTo>
                  <a:pt x="2058" y="1733"/>
                </a:lnTo>
                <a:lnTo>
                  <a:pt x="2053" y="1740"/>
                </a:lnTo>
                <a:lnTo>
                  <a:pt x="2048" y="1747"/>
                </a:lnTo>
                <a:lnTo>
                  <a:pt x="2041" y="1750"/>
                </a:lnTo>
                <a:lnTo>
                  <a:pt x="2035" y="1754"/>
                </a:lnTo>
                <a:lnTo>
                  <a:pt x="2026" y="1757"/>
                </a:lnTo>
                <a:lnTo>
                  <a:pt x="2018" y="1757"/>
                </a:lnTo>
                <a:lnTo>
                  <a:pt x="2008" y="1755"/>
                </a:lnTo>
                <a:lnTo>
                  <a:pt x="1962" y="1744"/>
                </a:lnTo>
                <a:lnTo>
                  <a:pt x="1962" y="1786"/>
                </a:lnTo>
                <a:lnTo>
                  <a:pt x="1586" y="1786"/>
                </a:lnTo>
                <a:lnTo>
                  <a:pt x="1586" y="1767"/>
                </a:lnTo>
                <a:lnTo>
                  <a:pt x="1537" y="1779"/>
                </a:lnTo>
                <a:lnTo>
                  <a:pt x="1535" y="1710"/>
                </a:lnTo>
                <a:lnTo>
                  <a:pt x="1833" y="1642"/>
                </a:lnTo>
                <a:lnTo>
                  <a:pt x="1991" y="1699"/>
                </a:lnTo>
                <a:close/>
                <a:moveTo>
                  <a:pt x="1062" y="2581"/>
                </a:moveTo>
                <a:lnTo>
                  <a:pt x="1062" y="2581"/>
                </a:lnTo>
                <a:lnTo>
                  <a:pt x="1076" y="2613"/>
                </a:lnTo>
                <a:lnTo>
                  <a:pt x="1086" y="2647"/>
                </a:lnTo>
                <a:lnTo>
                  <a:pt x="1089" y="2664"/>
                </a:lnTo>
                <a:lnTo>
                  <a:pt x="1091" y="2681"/>
                </a:lnTo>
                <a:lnTo>
                  <a:pt x="1093" y="2699"/>
                </a:lnTo>
                <a:lnTo>
                  <a:pt x="1093" y="2718"/>
                </a:lnTo>
                <a:lnTo>
                  <a:pt x="1093" y="2796"/>
                </a:lnTo>
                <a:lnTo>
                  <a:pt x="1093" y="2825"/>
                </a:lnTo>
                <a:lnTo>
                  <a:pt x="1088" y="2852"/>
                </a:lnTo>
                <a:lnTo>
                  <a:pt x="1083" y="2879"/>
                </a:lnTo>
                <a:lnTo>
                  <a:pt x="1072" y="2906"/>
                </a:lnTo>
                <a:lnTo>
                  <a:pt x="1062" y="2931"/>
                </a:lnTo>
                <a:lnTo>
                  <a:pt x="1049" y="2955"/>
                </a:lnTo>
                <a:lnTo>
                  <a:pt x="1033" y="2977"/>
                </a:lnTo>
                <a:lnTo>
                  <a:pt x="1016" y="2997"/>
                </a:lnTo>
                <a:lnTo>
                  <a:pt x="998" y="3016"/>
                </a:lnTo>
                <a:lnTo>
                  <a:pt x="979" y="3033"/>
                </a:lnTo>
                <a:lnTo>
                  <a:pt x="957" y="3048"/>
                </a:lnTo>
                <a:lnTo>
                  <a:pt x="933" y="3060"/>
                </a:lnTo>
                <a:lnTo>
                  <a:pt x="910" y="3070"/>
                </a:lnTo>
                <a:lnTo>
                  <a:pt x="884" y="3077"/>
                </a:lnTo>
                <a:lnTo>
                  <a:pt x="857" y="3082"/>
                </a:lnTo>
                <a:lnTo>
                  <a:pt x="830" y="3084"/>
                </a:lnTo>
                <a:lnTo>
                  <a:pt x="810" y="3082"/>
                </a:lnTo>
                <a:lnTo>
                  <a:pt x="791" y="3080"/>
                </a:lnTo>
                <a:lnTo>
                  <a:pt x="773" y="3077"/>
                </a:lnTo>
                <a:lnTo>
                  <a:pt x="754" y="3072"/>
                </a:lnTo>
                <a:lnTo>
                  <a:pt x="735" y="3065"/>
                </a:lnTo>
                <a:lnTo>
                  <a:pt x="718" y="3057"/>
                </a:lnTo>
                <a:lnTo>
                  <a:pt x="703" y="3048"/>
                </a:lnTo>
                <a:lnTo>
                  <a:pt x="686" y="3038"/>
                </a:lnTo>
                <a:lnTo>
                  <a:pt x="673" y="3026"/>
                </a:lnTo>
                <a:lnTo>
                  <a:pt x="657" y="3014"/>
                </a:lnTo>
                <a:lnTo>
                  <a:pt x="644" y="3001"/>
                </a:lnTo>
                <a:lnTo>
                  <a:pt x="632" y="2987"/>
                </a:lnTo>
                <a:lnTo>
                  <a:pt x="620" y="2972"/>
                </a:lnTo>
                <a:lnTo>
                  <a:pt x="610" y="2955"/>
                </a:lnTo>
                <a:lnTo>
                  <a:pt x="601" y="2938"/>
                </a:lnTo>
                <a:lnTo>
                  <a:pt x="593" y="2921"/>
                </a:lnTo>
                <a:lnTo>
                  <a:pt x="578" y="2926"/>
                </a:lnTo>
                <a:lnTo>
                  <a:pt x="564" y="2928"/>
                </a:lnTo>
                <a:lnTo>
                  <a:pt x="549" y="2931"/>
                </a:lnTo>
                <a:lnTo>
                  <a:pt x="534" y="2931"/>
                </a:lnTo>
                <a:lnTo>
                  <a:pt x="517" y="2930"/>
                </a:lnTo>
                <a:lnTo>
                  <a:pt x="500" y="2928"/>
                </a:lnTo>
                <a:lnTo>
                  <a:pt x="483" y="2923"/>
                </a:lnTo>
                <a:lnTo>
                  <a:pt x="468" y="2918"/>
                </a:lnTo>
                <a:lnTo>
                  <a:pt x="452" y="2911"/>
                </a:lnTo>
                <a:lnTo>
                  <a:pt x="439" y="2903"/>
                </a:lnTo>
                <a:lnTo>
                  <a:pt x="425" y="2892"/>
                </a:lnTo>
                <a:lnTo>
                  <a:pt x="413" y="2882"/>
                </a:lnTo>
                <a:lnTo>
                  <a:pt x="403" y="2869"/>
                </a:lnTo>
                <a:lnTo>
                  <a:pt x="393" y="2857"/>
                </a:lnTo>
                <a:lnTo>
                  <a:pt x="385" y="2842"/>
                </a:lnTo>
                <a:lnTo>
                  <a:pt x="378" y="2828"/>
                </a:lnTo>
                <a:lnTo>
                  <a:pt x="371" y="2811"/>
                </a:lnTo>
                <a:lnTo>
                  <a:pt x="368" y="2796"/>
                </a:lnTo>
                <a:lnTo>
                  <a:pt x="364" y="2779"/>
                </a:lnTo>
                <a:lnTo>
                  <a:pt x="364" y="2760"/>
                </a:lnTo>
                <a:lnTo>
                  <a:pt x="364" y="2743"/>
                </a:lnTo>
                <a:lnTo>
                  <a:pt x="368" y="2726"/>
                </a:lnTo>
                <a:lnTo>
                  <a:pt x="371" y="2711"/>
                </a:lnTo>
                <a:lnTo>
                  <a:pt x="378" y="2694"/>
                </a:lnTo>
                <a:lnTo>
                  <a:pt x="385" y="2681"/>
                </a:lnTo>
                <a:lnTo>
                  <a:pt x="393" y="2665"/>
                </a:lnTo>
                <a:lnTo>
                  <a:pt x="403" y="2653"/>
                </a:lnTo>
                <a:lnTo>
                  <a:pt x="413" y="2640"/>
                </a:lnTo>
                <a:lnTo>
                  <a:pt x="425" y="2630"/>
                </a:lnTo>
                <a:lnTo>
                  <a:pt x="439" y="2620"/>
                </a:lnTo>
                <a:lnTo>
                  <a:pt x="452" y="2611"/>
                </a:lnTo>
                <a:lnTo>
                  <a:pt x="468" y="2604"/>
                </a:lnTo>
                <a:lnTo>
                  <a:pt x="483" y="2598"/>
                </a:lnTo>
                <a:lnTo>
                  <a:pt x="500" y="2594"/>
                </a:lnTo>
                <a:lnTo>
                  <a:pt x="517" y="2591"/>
                </a:lnTo>
                <a:lnTo>
                  <a:pt x="534" y="2591"/>
                </a:lnTo>
                <a:lnTo>
                  <a:pt x="539" y="2591"/>
                </a:lnTo>
                <a:lnTo>
                  <a:pt x="546" y="2570"/>
                </a:lnTo>
                <a:lnTo>
                  <a:pt x="554" y="2553"/>
                </a:lnTo>
                <a:lnTo>
                  <a:pt x="564" y="2535"/>
                </a:lnTo>
                <a:lnTo>
                  <a:pt x="574" y="2520"/>
                </a:lnTo>
                <a:lnTo>
                  <a:pt x="588" y="2504"/>
                </a:lnTo>
                <a:lnTo>
                  <a:pt x="601" y="2491"/>
                </a:lnTo>
                <a:lnTo>
                  <a:pt x="615" y="2479"/>
                </a:lnTo>
                <a:lnTo>
                  <a:pt x="630" y="2467"/>
                </a:lnTo>
                <a:lnTo>
                  <a:pt x="645" y="2457"/>
                </a:lnTo>
                <a:lnTo>
                  <a:pt x="661" y="2448"/>
                </a:lnTo>
                <a:lnTo>
                  <a:pt x="676" y="2442"/>
                </a:lnTo>
                <a:lnTo>
                  <a:pt x="691" y="2437"/>
                </a:lnTo>
                <a:lnTo>
                  <a:pt x="705" y="2431"/>
                </a:lnTo>
                <a:lnTo>
                  <a:pt x="718" y="2430"/>
                </a:lnTo>
                <a:lnTo>
                  <a:pt x="732" y="2428"/>
                </a:lnTo>
                <a:lnTo>
                  <a:pt x="742" y="2430"/>
                </a:lnTo>
                <a:lnTo>
                  <a:pt x="759" y="2421"/>
                </a:lnTo>
                <a:lnTo>
                  <a:pt x="776" y="2416"/>
                </a:lnTo>
                <a:lnTo>
                  <a:pt x="793" y="2411"/>
                </a:lnTo>
                <a:lnTo>
                  <a:pt x="808" y="2408"/>
                </a:lnTo>
                <a:lnTo>
                  <a:pt x="839" y="2404"/>
                </a:lnTo>
                <a:lnTo>
                  <a:pt x="869" y="2404"/>
                </a:lnTo>
                <a:lnTo>
                  <a:pt x="896" y="2408"/>
                </a:lnTo>
                <a:lnTo>
                  <a:pt x="923" y="2413"/>
                </a:lnTo>
                <a:lnTo>
                  <a:pt x="949" y="2421"/>
                </a:lnTo>
                <a:lnTo>
                  <a:pt x="972" y="2433"/>
                </a:lnTo>
                <a:lnTo>
                  <a:pt x="994" y="2445"/>
                </a:lnTo>
                <a:lnTo>
                  <a:pt x="1015" y="2457"/>
                </a:lnTo>
                <a:lnTo>
                  <a:pt x="1033" y="2470"/>
                </a:lnTo>
                <a:lnTo>
                  <a:pt x="1050" y="2484"/>
                </a:lnTo>
                <a:lnTo>
                  <a:pt x="1077" y="2508"/>
                </a:lnTo>
                <a:lnTo>
                  <a:pt x="1098" y="2526"/>
                </a:lnTo>
                <a:lnTo>
                  <a:pt x="1062" y="2581"/>
                </a:lnTo>
                <a:close/>
                <a:moveTo>
                  <a:pt x="647" y="2877"/>
                </a:moveTo>
                <a:lnTo>
                  <a:pt x="647" y="2877"/>
                </a:lnTo>
                <a:lnTo>
                  <a:pt x="654" y="2892"/>
                </a:lnTo>
                <a:lnTo>
                  <a:pt x="661" y="2908"/>
                </a:lnTo>
                <a:lnTo>
                  <a:pt x="668" y="2921"/>
                </a:lnTo>
                <a:lnTo>
                  <a:pt x="678" y="2933"/>
                </a:lnTo>
                <a:lnTo>
                  <a:pt x="686" y="2947"/>
                </a:lnTo>
                <a:lnTo>
                  <a:pt x="696" y="2957"/>
                </a:lnTo>
                <a:lnTo>
                  <a:pt x="708" y="2969"/>
                </a:lnTo>
                <a:lnTo>
                  <a:pt x="720" y="2977"/>
                </a:lnTo>
                <a:lnTo>
                  <a:pt x="732" y="2986"/>
                </a:lnTo>
                <a:lnTo>
                  <a:pt x="744" y="2994"/>
                </a:lnTo>
                <a:lnTo>
                  <a:pt x="757" y="3001"/>
                </a:lnTo>
                <a:lnTo>
                  <a:pt x="771" y="3006"/>
                </a:lnTo>
                <a:lnTo>
                  <a:pt x="786" y="3011"/>
                </a:lnTo>
                <a:lnTo>
                  <a:pt x="800" y="3013"/>
                </a:lnTo>
                <a:lnTo>
                  <a:pt x="815" y="3016"/>
                </a:lnTo>
                <a:lnTo>
                  <a:pt x="830" y="3016"/>
                </a:lnTo>
                <a:lnTo>
                  <a:pt x="849" y="3014"/>
                </a:lnTo>
                <a:lnTo>
                  <a:pt x="867" y="3011"/>
                </a:lnTo>
                <a:lnTo>
                  <a:pt x="886" y="3006"/>
                </a:lnTo>
                <a:lnTo>
                  <a:pt x="905" y="2999"/>
                </a:lnTo>
                <a:lnTo>
                  <a:pt x="922" y="2991"/>
                </a:lnTo>
                <a:lnTo>
                  <a:pt x="939" y="2979"/>
                </a:lnTo>
                <a:lnTo>
                  <a:pt x="952" y="2967"/>
                </a:lnTo>
                <a:lnTo>
                  <a:pt x="967" y="2953"/>
                </a:lnTo>
                <a:lnTo>
                  <a:pt x="979" y="2936"/>
                </a:lnTo>
                <a:lnTo>
                  <a:pt x="991" y="2919"/>
                </a:lnTo>
                <a:lnTo>
                  <a:pt x="1001" y="2903"/>
                </a:lnTo>
                <a:lnTo>
                  <a:pt x="1010" y="2882"/>
                </a:lnTo>
                <a:lnTo>
                  <a:pt x="1016" y="2862"/>
                </a:lnTo>
                <a:lnTo>
                  <a:pt x="1022" y="2840"/>
                </a:lnTo>
                <a:lnTo>
                  <a:pt x="1025" y="2818"/>
                </a:lnTo>
                <a:lnTo>
                  <a:pt x="1025" y="2796"/>
                </a:lnTo>
                <a:lnTo>
                  <a:pt x="1025" y="2718"/>
                </a:lnTo>
                <a:lnTo>
                  <a:pt x="1025" y="2699"/>
                </a:lnTo>
                <a:lnTo>
                  <a:pt x="1023" y="2681"/>
                </a:lnTo>
                <a:lnTo>
                  <a:pt x="1020" y="2664"/>
                </a:lnTo>
                <a:lnTo>
                  <a:pt x="1015" y="2647"/>
                </a:lnTo>
                <a:lnTo>
                  <a:pt x="1000" y="2660"/>
                </a:lnTo>
                <a:lnTo>
                  <a:pt x="981" y="2674"/>
                </a:lnTo>
                <a:lnTo>
                  <a:pt x="961" y="2686"/>
                </a:lnTo>
                <a:lnTo>
                  <a:pt x="940" y="2697"/>
                </a:lnTo>
                <a:lnTo>
                  <a:pt x="900" y="2718"/>
                </a:lnTo>
                <a:lnTo>
                  <a:pt x="857" y="2735"/>
                </a:lnTo>
                <a:lnTo>
                  <a:pt x="822" y="2748"/>
                </a:lnTo>
                <a:lnTo>
                  <a:pt x="791" y="2757"/>
                </a:lnTo>
                <a:lnTo>
                  <a:pt x="764" y="2765"/>
                </a:lnTo>
                <a:lnTo>
                  <a:pt x="752" y="2753"/>
                </a:lnTo>
                <a:lnTo>
                  <a:pt x="740" y="2743"/>
                </a:lnTo>
                <a:lnTo>
                  <a:pt x="734" y="2738"/>
                </a:lnTo>
                <a:lnTo>
                  <a:pt x="725" y="2736"/>
                </a:lnTo>
                <a:lnTo>
                  <a:pt x="717" y="2735"/>
                </a:lnTo>
                <a:lnTo>
                  <a:pt x="708" y="2733"/>
                </a:lnTo>
                <a:lnTo>
                  <a:pt x="696" y="2735"/>
                </a:lnTo>
                <a:lnTo>
                  <a:pt x="684" y="2740"/>
                </a:lnTo>
                <a:lnTo>
                  <a:pt x="673" y="2747"/>
                </a:lnTo>
                <a:lnTo>
                  <a:pt x="662" y="2755"/>
                </a:lnTo>
                <a:lnTo>
                  <a:pt x="656" y="2765"/>
                </a:lnTo>
                <a:lnTo>
                  <a:pt x="649" y="2777"/>
                </a:lnTo>
                <a:lnTo>
                  <a:pt x="645" y="2791"/>
                </a:lnTo>
                <a:lnTo>
                  <a:pt x="644" y="2806"/>
                </a:lnTo>
                <a:lnTo>
                  <a:pt x="644" y="2855"/>
                </a:lnTo>
                <a:lnTo>
                  <a:pt x="645" y="2867"/>
                </a:lnTo>
                <a:lnTo>
                  <a:pt x="647" y="2877"/>
                </a:lnTo>
                <a:close/>
                <a:moveTo>
                  <a:pt x="6028" y="329"/>
                </a:moveTo>
                <a:lnTo>
                  <a:pt x="6028" y="329"/>
                </a:lnTo>
                <a:lnTo>
                  <a:pt x="6019" y="330"/>
                </a:lnTo>
                <a:lnTo>
                  <a:pt x="6011" y="332"/>
                </a:lnTo>
                <a:lnTo>
                  <a:pt x="6002" y="334"/>
                </a:lnTo>
                <a:lnTo>
                  <a:pt x="5996" y="339"/>
                </a:lnTo>
                <a:lnTo>
                  <a:pt x="5989" y="344"/>
                </a:lnTo>
                <a:lnTo>
                  <a:pt x="5984" y="349"/>
                </a:lnTo>
                <a:lnTo>
                  <a:pt x="5974" y="363"/>
                </a:lnTo>
                <a:lnTo>
                  <a:pt x="5941" y="352"/>
                </a:lnTo>
                <a:lnTo>
                  <a:pt x="5911" y="342"/>
                </a:lnTo>
                <a:lnTo>
                  <a:pt x="5874" y="330"/>
                </a:lnTo>
                <a:lnTo>
                  <a:pt x="5835" y="313"/>
                </a:lnTo>
                <a:lnTo>
                  <a:pt x="5794" y="293"/>
                </a:lnTo>
                <a:lnTo>
                  <a:pt x="5774" y="281"/>
                </a:lnTo>
                <a:lnTo>
                  <a:pt x="5755" y="269"/>
                </a:lnTo>
                <a:lnTo>
                  <a:pt x="5738" y="258"/>
                </a:lnTo>
                <a:lnTo>
                  <a:pt x="5721" y="244"/>
                </a:lnTo>
                <a:lnTo>
                  <a:pt x="5718" y="261"/>
                </a:lnTo>
                <a:lnTo>
                  <a:pt x="5714" y="278"/>
                </a:lnTo>
                <a:lnTo>
                  <a:pt x="5713" y="297"/>
                </a:lnTo>
                <a:lnTo>
                  <a:pt x="5711" y="313"/>
                </a:lnTo>
                <a:lnTo>
                  <a:pt x="5711" y="391"/>
                </a:lnTo>
                <a:lnTo>
                  <a:pt x="5713" y="415"/>
                </a:lnTo>
                <a:lnTo>
                  <a:pt x="5716" y="437"/>
                </a:lnTo>
                <a:lnTo>
                  <a:pt x="5721" y="459"/>
                </a:lnTo>
                <a:lnTo>
                  <a:pt x="5728" y="480"/>
                </a:lnTo>
                <a:lnTo>
                  <a:pt x="5736" y="498"/>
                </a:lnTo>
                <a:lnTo>
                  <a:pt x="5745" y="517"/>
                </a:lnTo>
                <a:lnTo>
                  <a:pt x="5757" y="534"/>
                </a:lnTo>
                <a:lnTo>
                  <a:pt x="5770" y="549"/>
                </a:lnTo>
                <a:lnTo>
                  <a:pt x="5784" y="564"/>
                </a:lnTo>
                <a:lnTo>
                  <a:pt x="5799" y="576"/>
                </a:lnTo>
                <a:lnTo>
                  <a:pt x="5816" y="586"/>
                </a:lnTo>
                <a:lnTo>
                  <a:pt x="5833" y="596"/>
                </a:lnTo>
                <a:lnTo>
                  <a:pt x="5850" y="603"/>
                </a:lnTo>
                <a:lnTo>
                  <a:pt x="5869" y="608"/>
                </a:lnTo>
                <a:lnTo>
                  <a:pt x="5887" y="612"/>
                </a:lnTo>
                <a:lnTo>
                  <a:pt x="5908" y="613"/>
                </a:lnTo>
                <a:lnTo>
                  <a:pt x="5921" y="612"/>
                </a:lnTo>
                <a:lnTo>
                  <a:pt x="5936" y="610"/>
                </a:lnTo>
                <a:lnTo>
                  <a:pt x="5950" y="608"/>
                </a:lnTo>
                <a:lnTo>
                  <a:pt x="5963" y="603"/>
                </a:lnTo>
                <a:lnTo>
                  <a:pt x="5977" y="598"/>
                </a:lnTo>
                <a:lnTo>
                  <a:pt x="5991" y="591"/>
                </a:lnTo>
                <a:lnTo>
                  <a:pt x="6002" y="585"/>
                </a:lnTo>
                <a:lnTo>
                  <a:pt x="6014" y="576"/>
                </a:lnTo>
                <a:lnTo>
                  <a:pt x="6026" y="568"/>
                </a:lnTo>
                <a:lnTo>
                  <a:pt x="6036" y="557"/>
                </a:lnTo>
                <a:lnTo>
                  <a:pt x="6046" y="547"/>
                </a:lnTo>
                <a:lnTo>
                  <a:pt x="6057" y="535"/>
                </a:lnTo>
                <a:lnTo>
                  <a:pt x="6065" y="524"/>
                </a:lnTo>
                <a:lnTo>
                  <a:pt x="6074" y="510"/>
                </a:lnTo>
                <a:lnTo>
                  <a:pt x="6080" y="496"/>
                </a:lnTo>
                <a:lnTo>
                  <a:pt x="6087" y="483"/>
                </a:lnTo>
                <a:lnTo>
                  <a:pt x="6091" y="468"/>
                </a:lnTo>
                <a:lnTo>
                  <a:pt x="6092" y="451"/>
                </a:lnTo>
                <a:lnTo>
                  <a:pt x="6092" y="400"/>
                </a:lnTo>
                <a:lnTo>
                  <a:pt x="6091" y="386"/>
                </a:lnTo>
                <a:lnTo>
                  <a:pt x="6087" y="373"/>
                </a:lnTo>
                <a:lnTo>
                  <a:pt x="6080" y="361"/>
                </a:lnTo>
                <a:lnTo>
                  <a:pt x="6074" y="351"/>
                </a:lnTo>
                <a:lnTo>
                  <a:pt x="6063" y="342"/>
                </a:lnTo>
                <a:lnTo>
                  <a:pt x="6052" y="335"/>
                </a:lnTo>
                <a:lnTo>
                  <a:pt x="6040" y="330"/>
                </a:lnTo>
                <a:lnTo>
                  <a:pt x="6028" y="329"/>
                </a:lnTo>
                <a:close/>
                <a:moveTo>
                  <a:pt x="6145" y="518"/>
                </a:moveTo>
                <a:lnTo>
                  <a:pt x="6145" y="518"/>
                </a:lnTo>
                <a:lnTo>
                  <a:pt x="6136" y="535"/>
                </a:lnTo>
                <a:lnTo>
                  <a:pt x="6126" y="552"/>
                </a:lnTo>
                <a:lnTo>
                  <a:pt x="6116" y="568"/>
                </a:lnTo>
                <a:lnTo>
                  <a:pt x="6104" y="583"/>
                </a:lnTo>
                <a:lnTo>
                  <a:pt x="6092" y="598"/>
                </a:lnTo>
                <a:lnTo>
                  <a:pt x="6079" y="612"/>
                </a:lnTo>
                <a:lnTo>
                  <a:pt x="6065" y="624"/>
                </a:lnTo>
                <a:lnTo>
                  <a:pt x="6050" y="635"/>
                </a:lnTo>
                <a:lnTo>
                  <a:pt x="6035" y="646"/>
                </a:lnTo>
                <a:lnTo>
                  <a:pt x="6018" y="654"/>
                </a:lnTo>
                <a:lnTo>
                  <a:pt x="6001" y="663"/>
                </a:lnTo>
                <a:lnTo>
                  <a:pt x="5984" y="669"/>
                </a:lnTo>
                <a:lnTo>
                  <a:pt x="5965" y="674"/>
                </a:lnTo>
                <a:lnTo>
                  <a:pt x="5947" y="678"/>
                </a:lnTo>
                <a:lnTo>
                  <a:pt x="5928" y="679"/>
                </a:lnTo>
                <a:lnTo>
                  <a:pt x="5908" y="681"/>
                </a:lnTo>
                <a:lnTo>
                  <a:pt x="5880" y="679"/>
                </a:lnTo>
                <a:lnTo>
                  <a:pt x="5853" y="674"/>
                </a:lnTo>
                <a:lnTo>
                  <a:pt x="5828" y="668"/>
                </a:lnTo>
                <a:lnTo>
                  <a:pt x="5804" y="657"/>
                </a:lnTo>
                <a:lnTo>
                  <a:pt x="5780" y="646"/>
                </a:lnTo>
                <a:lnTo>
                  <a:pt x="5758" y="630"/>
                </a:lnTo>
                <a:lnTo>
                  <a:pt x="5738" y="613"/>
                </a:lnTo>
                <a:lnTo>
                  <a:pt x="5720" y="595"/>
                </a:lnTo>
                <a:lnTo>
                  <a:pt x="5703" y="574"/>
                </a:lnTo>
                <a:lnTo>
                  <a:pt x="5687" y="552"/>
                </a:lnTo>
                <a:lnTo>
                  <a:pt x="5675" y="529"/>
                </a:lnTo>
                <a:lnTo>
                  <a:pt x="5664" y="503"/>
                </a:lnTo>
                <a:lnTo>
                  <a:pt x="5655" y="476"/>
                </a:lnTo>
                <a:lnTo>
                  <a:pt x="5648" y="449"/>
                </a:lnTo>
                <a:lnTo>
                  <a:pt x="5645" y="420"/>
                </a:lnTo>
                <a:lnTo>
                  <a:pt x="5643" y="391"/>
                </a:lnTo>
                <a:lnTo>
                  <a:pt x="5643" y="313"/>
                </a:lnTo>
                <a:lnTo>
                  <a:pt x="5643" y="297"/>
                </a:lnTo>
                <a:lnTo>
                  <a:pt x="5645" y="278"/>
                </a:lnTo>
                <a:lnTo>
                  <a:pt x="5648" y="261"/>
                </a:lnTo>
                <a:lnTo>
                  <a:pt x="5652" y="242"/>
                </a:lnTo>
                <a:lnTo>
                  <a:pt x="5662" y="210"/>
                </a:lnTo>
                <a:lnTo>
                  <a:pt x="5675" y="178"/>
                </a:lnTo>
                <a:lnTo>
                  <a:pt x="5640" y="122"/>
                </a:lnTo>
                <a:lnTo>
                  <a:pt x="5659" y="105"/>
                </a:lnTo>
                <a:lnTo>
                  <a:pt x="5687" y="81"/>
                </a:lnTo>
                <a:lnTo>
                  <a:pt x="5703" y="68"/>
                </a:lnTo>
                <a:lnTo>
                  <a:pt x="5721" y="54"/>
                </a:lnTo>
                <a:lnTo>
                  <a:pt x="5742" y="41"/>
                </a:lnTo>
                <a:lnTo>
                  <a:pt x="5764" y="29"/>
                </a:lnTo>
                <a:lnTo>
                  <a:pt x="5787" y="19"/>
                </a:lnTo>
                <a:lnTo>
                  <a:pt x="5813" y="10"/>
                </a:lnTo>
                <a:lnTo>
                  <a:pt x="5840" y="3"/>
                </a:lnTo>
                <a:lnTo>
                  <a:pt x="5869" y="0"/>
                </a:lnTo>
                <a:lnTo>
                  <a:pt x="5897" y="0"/>
                </a:lnTo>
                <a:lnTo>
                  <a:pt x="5928" y="5"/>
                </a:lnTo>
                <a:lnTo>
                  <a:pt x="5945" y="8"/>
                </a:lnTo>
                <a:lnTo>
                  <a:pt x="5962" y="14"/>
                </a:lnTo>
                <a:lnTo>
                  <a:pt x="5977" y="19"/>
                </a:lnTo>
                <a:lnTo>
                  <a:pt x="5994" y="25"/>
                </a:lnTo>
                <a:lnTo>
                  <a:pt x="6006" y="25"/>
                </a:lnTo>
                <a:lnTo>
                  <a:pt x="6018" y="27"/>
                </a:lnTo>
                <a:lnTo>
                  <a:pt x="6031" y="29"/>
                </a:lnTo>
                <a:lnTo>
                  <a:pt x="6046" y="34"/>
                </a:lnTo>
                <a:lnTo>
                  <a:pt x="6062" y="39"/>
                </a:lnTo>
                <a:lnTo>
                  <a:pt x="6077" y="46"/>
                </a:lnTo>
                <a:lnTo>
                  <a:pt x="6092" y="54"/>
                </a:lnTo>
                <a:lnTo>
                  <a:pt x="6107" y="64"/>
                </a:lnTo>
                <a:lnTo>
                  <a:pt x="6123" y="75"/>
                </a:lnTo>
                <a:lnTo>
                  <a:pt x="6136" y="88"/>
                </a:lnTo>
                <a:lnTo>
                  <a:pt x="6150" y="102"/>
                </a:lnTo>
                <a:lnTo>
                  <a:pt x="6162" y="117"/>
                </a:lnTo>
                <a:lnTo>
                  <a:pt x="6174" y="132"/>
                </a:lnTo>
                <a:lnTo>
                  <a:pt x="6184" y="149"/>
                </a:lnTo>
                <a:lnTo>
                  <a:pt x="6190" y="168"/>
                </a:lnTo>
                <a:lnTo>
                  <a:pt x="6197" y="188"/>
                </a:lnTo>
                <a:lnTo>
                  <a:pt x="6202" y="188"/>
                </a:lnTo>
                <a:lnTo>
                  <a:pt x="6219" y="188"/>
                </a:lnTo>
                <a:lnTo>
                  <a:pt x="6236" y="191"/>
                </a:lnTo>
                <a:lnTo>
                  <a:pt x="6253" y="195"/>
                </a:lnTo>
                <a:lnTo>
                  <a:pt x="6268" y="202"/>
                </a:lnTo>
                <a:lnTo>
                  <a:pt x="6284" y="208"/>
                </a:lnTo>
                <a:lnTo>
                  <a:pt x="6297" y="217"/>
                </a:lnTo>
                <a:lnTo>
                  <a:pt x="6311" y="227"/>
                </a:lnTo>
                <a:lnTo>
                  <a:pt x="6323" y="237"/>
                </a:lnTo>
                <a:lnTo>
                  <a:pt x="6334" y="249"/>
                </a:lnTo>
                <a:lnTo>
                  <a:pt x="6345" y="263"/>
                </a:lnTo>
                <a:lnTo>
                  <a:pt x="6353" y="276"/>
                </a:lnTo>
                <a:lnTo>
                  <a:pt x="6360" y="291"/>
                </a:lnTo>
                <a:lnTo>
                  <a:pt x="6365" y="307"/>
                </a:lnTo>
                <a:lnTo>
                  <a:pt x="6370" y="324"/>
                </a:lnTo>
                <a:lnTo>
                  <a:pt x="6372" y="341"/>
                </a:lnTo>
                <a:lnTo>
                  <a:pt x="6373" y="358"/>
                </a:lnTo>
                <a:lnTo>
                  <a:pt x="6372" y="374"/>
                </a:lnTo>
                <a:lnTo>
                  <a:pt x="6370" y="391"/>
                </a:lnTo>
                <a:lnTo>
                  <a:pt x="6365" y="408"/>
                </a:lnTo>
                <a:lnTo>
                  <a:pt x="6360" y="424"/>
                </a:lnTo>
                <a:lnTo>
                  <a:pt x="6353" y="439"/>
                </a:lnTo>
                <a:lnTo>
                  <a:pt x="6345" y="452"/>
                </a:lnTo>
                <a:lnTo>
                  <a:pt x="6334" y="466"/>
                </a:lnTo>
                <a:lnTo>
                  <a:pt x="6323" y="478"/>
                </a:lnTo>
                <a:lnTo>
                  <a:pt x="6311" y="490"/>
                </a:lnTo>
                <a:lnTo>
                  <a:pt x="6297" y="500"/>
                </a:lnTo>
                <a:lnTo>
                  <a:pt x="6284" y="508"/>
                </a:lnTo>
                <a:lnTo>
                  <a:pt x="6268" y="515"/>
                </a:lnTo>
                <a:lnTo>
                  <a:pt x="6253" y="520"/>
                </a:lnTo>
                <a:lnTo>
                  <a:pt x="6236" y="525"/>
                </a:lnTo>
                <a:lnTo>
                  <a:pt x="6219" y="527"/>
                </a:lnTo>
                <a:lnTo>
                  <a:pt x="6202" y="529"/>
                </a:lnTo>
                <a:lnTo>
                  <a:pt x="6187" y="527"/>
                </a:lnTo>
                <a:lnTo>
                  <a:pt x="6174" y="525"/>
                </a:lnTo>
                <a:lnTo>
                  <a:pt x="6158" y="522"/>
                </a:lnTo>
                <a:lnTo>
                  <a:pt x="6145" y="518"/>
                </a:lnTo>
                <a:close/>
                <a:moveTo>
                  <a:pt x="6172" y="2713"/>
                </a:moveTo>
                <a:lnTo>
                  <a:pt x="6172" y="2718"/>
                </a:lnTo>
                <a:lnTo>
                  <a:pt x="6172" y="2796"/>
                </a:lnTo>
                <a:lnTo>
                  <a:pt x="6170" y="2825"/>
                </a:lnTo>
                <a:lnTo>
                  <a:pt x="6167" y="2852"/>
                </a:lnTo>
                <a:lnTo>
                  <a:pt x="6160" y="2879"/>
                </a:lnTo>
                <a:lnTo>
                  <a:pt x="6152" y="2906"/>
                </a:lnTo>
                <a:lnTo>
                  <a:pt x="6140" y="2931"/>
                </a:lnTo>
                <a:lnTo>
                  <a:pt x="6128" y="2955"/>
                </a:lnTo>
                <a:lnTo>
                  <a:pt x="6113" y="2977"/>
                </a:lnTo>
                <a:lnTo>
                  <a:pt x="6096" y="2997"/>
                </a:lnTo>
                <a:lnTo>
                  <a:pt x="6077" y="3016"/>
                </a:lnTo>
                <a:lnTo>
                  <a:pt x="6057" y="3033"/>
                </a:lnTo>
                <a:lnTo>
                  <a:pt x="6035" y="3048"/>
                </a:lnTo>
                <a:lnTo>
                  <a:pt x="6011" y="3060"/>
                </a:lnTo>
                <a:lnTo>
                  <a:pt x="5987" y="3070"/>
                </a:lnTo>
                <a:lnTo>
                  <a:pt x="5962" y="3077"/>
                </a:lnTo>
                <a:lnTo>
                  <a:pt x="5935" y="3082"/>
                </a:lnTo>
                <a:lnTo>
                  <a:pt x="5908" y="3084"/>
                </a:lnTo>
                <a:lnTo>
                  <a:pt x="5880" y="3082"/>
                </a:lnTo>
                <a:lnTo>
                  <a:pt x="5853" y="3077"/>
                </a:lnTo>
                <a:lnTo>
                  <a:pt x="5828" y="3070"/>
                </a:lnTo>
                <a:lnTo>
                  <a:pt x="5803" y="3060"/>
                </a:lnTo>
                <a:lnTo>
                  <a:pt x="5780" y="3048"/>
                </a:lnTo>
                <a:lnTo>
                  <a:pt x="5758" y="3033"/>
                </a:lnTo>
                <a:lnTo>
                  <a:pt x="5738" y="3016"/>
                </a:lnTo>
                <a:lnTo>
                  <a:pt x="5720" y="2997"/>
                </a:lnTo>
                <a:lnTo>
                  <a:pt x="5703" y="2977"/>
                </a:lnTo>
                <a:lnTo>
                  <a:pt x="5687" y="2955"/>
                </a:lnTo>
                <a:lnTo>
                  <a:pt x="5675" y="2931"/>
                </a:lnTo>
                <a:lnTo>
                  <a:pt x="5664" y="2906"/>
                </a:lnTo>
                <a:lnTo>
                  <a:pt x="5655" y="2879"/>
                </a:lnTo>
                <a:lnTo>
                  <a:pt x="5648" y="2852"/>
                </a:lnTo>
                <a:lnTo>
                  <a:pt x="5645" y="2825"/>
                </a:lnTo>
                <a:lnTo>
                  <a:pt x="5643" y="2796"/>
                </a:lnTo>
                <a:lnTo>
                  <a:pt x="5643" y="2718"/>
                </a:lnTo>
                <a:lnTo>
                  <a:pt x="5645" y="2689"/>
                </a:lnTo>
                <a:lnTo>
                  <a:pt x="5648" y="2660"/>
                </a:lnTo>
                <a:lnTo>
                  <a:pt x="5655" y="2633"/>
                </a:lnTo>
                <a:lnTo>
                  <a:pt x="5664" y="2606"/>
                </a:lnTo>
                <a:lnTo>
                  <a:pt x="5675" y="2581"/>
                </a:lnTo>
                <a:lnTo>
                  <a:pt x="5687" y="2557"/>
                </a:lnTo>
                <a:lnTo>
                  <a:pt x="5703" y="2535"/>
                </a:lnTo>
                <a:lnTo>
                  <a:pt x="5720" y="2514"/>
                </a:lnTo>
                <a:lnTo>
                  <a:pt x="5618" y="2492"/>
                </a:lnTo>
                <a:lnTo>
                  <a:pt x="5618" y="2426"/>
                </a:lnTo>
                <a:lnTo>
                  <a:pt x="5962" y="2415"/>
                </a:lnTo>
                <a:lnTo>
                  <a:pt x="5979" y="2416"/>
                </a:lnTo>
                <a:lnTo>
                  <a:pt x="5996" y="2420"/>
                </a:lnTo>
                <a:lnTo>
                  <a:pt x="6013" y="2425"/>
                </a:lnTo>
                <a:lnTo>
                  <a:pt x="6030" y="2433"/>
                </a:lnTo>
                <a:lnTo>
                  <a:pt x="6048" y="2443"/>
                </a:lnTo>
                <a:lnTo>
                  <a:pt x="6065" y="2457"/>
                </a:lnTo>
                <a:lnTo>
                  <a:pt x="6082" y="2472"/>
                </a:lnTo>
                <a:lnTo>
                  <a:pt x="6097" y="2489"/>
                </a:lnTo>
                <a:lnTo>
                  <a:pt x="6113" y="2509"/>
                </a:lnTo>
                <a:lnTo>
                  <a:pt x="6128" y="2530"/>
                </a:lnTo>
                <a:lnTo>
                  <a:pt x="6140" y="2553"/>
                </a:lnTo>
                <a:lnTo>
                  <a:pt x="6150" y="2581"/>
                </a:lnTo>
                <a:lnTo>
                  <a:pt x="6160" y="2608"/>
                </a:lnTo>
                <a:lnTo>
                  <a:pt x="6165" y="2638"/>
                </a:lnTo>
                <a:lnTo>
                  <a:pt x="6170" y="2669"/>
                </a:lnTo>
                <a:lnTo>
                  <a:pt x="6172" y="2703"/>
                </a:lnTo>
                <a:lnTo>
                  <a:pt x="6172" y="2713"/>
                </a:lnTo>
                <a:close/>
                <a:moveTo>
                  <a:pt x="5801" y="2531"/>
                </a:moveTo>
                <a:lnTo>
                  <a:pt x="5801" y="2531"/>
                </a:lnTo>
                <a:lnTo>
                  <a:pt x="5782" y="2547"/>
                </a:lnTo>
                <a:lnTo>
                  <a:pt x="5765" y="2565"/>
                </a:lnTo>
                <a:lnTo>
                  <a:pt x="5750" y="2586"/>
                </a:lnTo>
                <a:lnTo>
                  <a:pt x="5736" y="2609"/>
                </a:lnTo>
                <a:lnTo>
                  <a:pt x="5726" y="2633"/>
                </a:lnTo>
                <a:lnTo>
                  <a:pt x="5718" y="2660"/>
                </a:lnTo>
                <a:lnTo>
                  <a:pt x="5713" y="2687"/>
                </a:lnTo>
                <a:lnTo>
                  <a:pt x="5711" y="2718"/>
                </a:lnTo>
                <a:lnTo>
                  <a:pt x="5711" y="2796"/>
                </a:lnTo>
                <a:lnTo>
                  <a:pt x="5713" y="2818"/>
                </a:lnTo>
                <a:lnTo>
                  <a:pt x="5716" y="2840"/>
                </a:lnTo>
                <a:lnTo>
                  <a:pt x="5721" y="2862"/>
                </a:lnTo>
                <a:lnTo>
                  <a:pt x="5728" y="2882"/>
                </a:lnTo>
                <a:lnTo>
                  <a:pt x="5736" y="2903"/>
                </a:lnTo>
                <a:lnTo>
                  <a:pt x="5745" y="2919"/>
                </a:lnTo>
                <a:lnTo>
                  <a:pt x="5757" y="2936"/>
                </a:lnTo>
                <a:lnTo>
                  <a:pt x="5770" y="2953"/>
                </a:lnTo>
                <a:lnTo>
                  <a:pt x="5784" y="2967"/>
                </a:lnTo>
                <a:lnTo>
                  <a:pt x="5799" y="2979"/>
                </a:lnTo>
                <a:lnTo>
                  <a:pt x="5816" y="2991"/>
                </a:lnTo>
                <a:lnTo>
                  <a:pt x="5833" y="2999"/>
                </a:lnTo>
                <a:lnTo>
                  <a:pt x="5850" y="3006"/>
                </a:lnTo>
                <a:lnTo>
                  <a:pt x="5869" y="3011"/>
                </a:lnTo>
                <a:lnTo>
                  <a:pt x="5887" y="3014"/>
                </a:lnTo>
                <a:lnTo>
                  <a:pt x="5908" y="3016"/>
                </a:lnTo>
                <a:lnTo>
                  <a:pt x="5926" y="3014"/>
                </a:lnTo>
                <a:lnTo>
                  <a:pt x="5945" y="3011"/>
                </a:lnTo>
                <a:lnTo>
                  <a:pt x="5963" y="3006"/>
                </a:lnTo>
                <a:lnTo>
                  <a:pt x="5982" y="2999"/>
                </a:lnTo>
                <a:lnTo>
                  <a:pt x="5999" y="2991"/>
                </a:lnTo>
                <a:lnTo>
                  <a:pt x="6014" y="2980"/>
                </a:lnTo>
                <a:lnTo>
                  <a:pt x="6030" y="2967"/>
                </a:lnTo>
                <a:lnTo>
                  <a:pt x="6043" y="2953"/>
                </a:lnTo>
                <a:lnTo>
                  <a:pt x="6057" y="2938"/>
                </a:lnTo>
                <a:lnTo>
                  <a:pt x="6068" y="2921"/>
                </a:lnTo>
                <a:lnTo>
                  <a:pt x="6079" y="2904"/>
                </a:lnTo>
                <a:lnTo>
                  <a:pt x="6087" y="2886"/>
                </a:lnTo>
                <a:lnTo>
                  <a:pt x="6094" y="2865"/>
                </a:lnTo>
                <a:lnTo>
                  <a:pt x="6099" y="2843"/>
                </a:lnTo>
                <a:lnTo>
                  <a:pt x="6102" y="2821"/>
                </a:lnTo>
                <a:lnTo>
                  <a:pt x="6104" y="2799"/>
                </a:lnTo>
                <a:lnTo>
                  <a:pt x="5985" y="2838"/>
                </a:lnTo>
                <a:lnTo>
                  <a:pt x="5977" y="2669"/>
                </a:lnTo>
                <a:lnTo>
                  <a:pt x="5853" y="2669"/>
                </a:lnTo>
                <a:lnTo>
                  <a:pt x="5899" y="2552"/>
                </a:lnTo>
                <a:lnTo>
                  <a:pt x="5801" y="2531"/>
                </a:lnTo>
                <a:close/>
                <a:moveTo>
                  <a:pt x="4183" y="293"/>
                </a:moveTo>
                <a:lnTo>
                  <a:pt x="4279" y="274"/>
                </a:lnTo>
                <a:lnTo>
                  <a:pt x="4508" y="1596"/>
                </a:lnTo>
                <a:lnTo>
                  <a:pt x="4412" y="1615"/>
                </a:lnTo>
                <a:lnTo>
                  <a:pt x="4371" y="1474"/>
                </a:lnTo>
                <a:lnTo>
                  <a:pt x="4352" y="1405"/>
                </a:lnTo>
                <a:lnTo>
                  <a:pt x="4334" y="1333"/>
                </a:lnTo>
                <a:lnTo>
                  <a:pt x="4317" y="1262"/>
                </a:lnTo>
                <a:lnTo>
                  <a:pt x="4300" y="1191"/>
                </a:lnTo>
                <a:lnTo>
                  <a:pt x="4285" y="1120"/>
                </a:lnTo>
                <a:lnTo>
                  <a:pt x="4271" y="1049"/>
                </a:lnTo>
                <a:lnTo>
                  <a:pt x="3990" y="1769"/>
                </a:lnTo>
                <a:lnTo>
                  <a:pt x="3983" y="1793"/>
                </a:lnTo>
                <a:lnTo>
                  <a:pt x="3980" y="1811"/>
                </a:lnTo>
                <a:lnTo>
                  <a:pt x="3981" y="1827"/>
                </a:lnTo>
                <a:lnTo>
                  <a:pt x="3983" y="1833"/>
                </a:lnTo>
                <a:lnTo>
                  <a:pt x="3985" y="1840"/>
                </a:lnTo>
                <a:lnTo>
                  <a:pt x="3988" y="1845"/>
                </a:lnTo>
                <a:lnTo>
                  <a:pt x="3991" y="1850"/>
                </a:lnTo>
                <a:lnTo>
                  <a:pt x="4002" y="1857"/>
                </a:lnTo>
                <a:lnTo>
                  <a:pt x="4015" y="1862"/>
                </a:lnTo>
                <a:lnTo>
                  <a:pt x="4029" y="1862"/>
                </a:lnTo>
                <a:lnTo>
                  <a:pt x="5697" y="1862"/>
                </a:lnTo>
                <a:lnTo>
                  <a:pt x="5697" y="1930"/>
                </a:lnTo>
                <a:lnTo>
                  <a:pt x="4029" y="1930"/>
                </a:lnTo>
                <a:lnTo>
                  <a:pt x="4008" y="1930"/>
                </a:lnTo>
                <a:lnTo>
                  <a:pt x="3990" y="1927"/>
                </a:lnTo>
                <a:lnTo>
                  <a:pt x="3973" y="1920"/>
                </a:lnTo>
                <a:lnTo>
                  <a:pt x="3959" y="1913"/>
                </a:lnTo>
                <a:lnTo>
                  <a:pt x="3947" y="1903"/>
                </a:lnTo>
                <a:lnTo>
                  <a:pt x="3937" y="1893"/>
                </a:lnTo>
                <a:lnTo>
                  <a:pt x="3929" y="1881"/>
                </a:lnTo>
                <a:lnTo>
                  <a:pt x="3922" y="1867"/>
                </a:lnTo>
                <a:lnTo>
                  <a:pt x="3919" y="1854"/>
                </a:lnTo>
                <a:lnTo>
                  <a:pt x="3915" y="1838"/>
                </a:lnTo>
                <a:lnTo>
                  <a:pt x="3914" y="1823"/>
                </a:lnTo>
                <a:lnTo>
                  <a:pt x="3914" y="1808"/>
                </a:lnTo>
                <a:lnTo>
                  <a:pt x="3915" y="1791"/>
                </a:lnTo>
                <a:lnTo>
                  <a:pt x="3917" y="1776"/>
                </a:lnTo>
                <a:lnTo>
                  <a:pt x="3922" y="1760"/>
                </a:lnTo>
                <a:lnTo>
                  <a:pt x="3927" y="1745"/>
                </a:lnTo>
                <a:lnTo>
                  <a:pt x="4249" y="922"/>
                </a:lnTo>
                <a:lnTo>
                  <a:pt x="4235" y="844"/>
                </a:lnTo>
                <a:lnTo>
                  <a:pt x="4225" y="766"/>
                </a:lnTo>
                <a:lnTo>
                  <a:pt x="4215" y="688"/>
                </a:lnTo>
                <a:lnTo>
                  <a:pt x="4207" y="610"/>
                </a:lnTo>
                <a:lnTo>
                  <a:pt x="4200" y="530"/>
                </a:lnTo>
                <a:lnTo>
                  <a:pt x="4193" y="452"/>
                </a:lnTo>
                <a:lnTo>
                  <a:pt x="4188" y="373"/>
                </a:lnTo>
                <a:lnTo>
                  <a:pt x="4183" y="293"/>
                </a:lnTo>
                <a:close/>
                <a:moveTo>
                  <a:pt x="2555" y="2696"/>
                </a:moveTo>
                <a:lnTo>
                  <a:pt x="2555" y="2696"/>
                </a:lnTo>
                <a:lnTo>
                  <a:pt x="2550" y="2775"/>
                </a:lnTo>
                <a:lnTo>
                  <a:pt x="2545" y="2855"/>
                </a:lnTo>
                <a:lnTo>
                  <a:pt x="2540" y="2933"/>
                </a:lnTo>
                <a:lnTo>
                  <a:pt x="2531" y="3013"/>
                </a:lnTo>
                <a:lnTo>
                  <a:pt x="2523" y="3091"/>
                </a:lnTo>
                <a:lnTo>
                  <a:pt x="2512" y="3169"/>
                </a:lnTo>
                <a:lnTo>
                  <a:pt x="2502" y="3246"/>
                </a:lnTo>
                <a:lnTo>
                  <a:pt x="2490" y="3324"/>
                </a:lnTo>
                <a:lnTo>
                  <a:pt x="2811" y="4148"/>
                </a:lnTo>
                <a:lnTo>
                  <a:pt x="2817" y="4163"/>
                </a:lnTo>
                <a:lnTo>
                  <a:pt x="2821" y="4178"/>
                </a:lnTo>
                <a:lnTo>
                  <a:pt x="2824" y="4194"/>
                </a:lnTo>
                <a:lnTo>
                  <a:pt x="2824" y="4211"/>
                </a:lnTo>
                <a:lnTo>
                  <a:pt x="2824" y="4226"/>
                </a:lnTo>
                <a:lnTo>
                  <a:pt x="2822" y="4241"/>
                </a:lnTo>
                <a:lnTo>
                  <a:pt x="2821" y="4256"/>
                </a:lnTo>
                <a:lnTo>
                  <a:pt x="2816" y="4270"/>
                </a:lnTo>
                <a:lnTo>
                  <a:pt x="2809" y="4283"/>
                </a:lnTo>
                <a:lnTo>
                  <a:pt x="2800" y="4295"/>
                </a:lnTo>
                <a:lnTo>
                  <a:pt x="2790" y="4305"/>
                </a:lnTo>
                <a:lnTo>
                  <a:pt x="2778" y="4316"/>
                </a:lnTo>
                <a:lnTo>
                  <a:pt x="2765" y="4322"/>
                </a:lnTo>
                <a:lnTo>
                  <a:pt x="2748" y="4329"/>
                </a:lnTo>
                <a:lnTo>
                  <a:pt x="2729" y="4333"/>
                </a:lnTo>
                <a:lnTo>
                  <a:pt x="2709" y="4333"/>
                </a:lnTo>
                <a:lnTo>
                  <a:pt x="1040" y="4333"/>
                </a:lnTo>
                <a:lnTo>
                  <a:pt x="1040" y="4265"/>
                </a:lnTo>
                <a:lnTo>
                  <a:pt x="2709" y="4265"/>
                </a:lnTo>
                <a:lnTo>
                  <a:pt x="2724" y="4265"/>
                </a:lnTo>
                <a:lnTo>
                  <a:pt x="2736" y="4260"/>
                </a:lnTo>
                <a:lnTo>
                  <a:pt x="2746" y="4253"/>
                </a:lnTo>
                <a:lnTo>
                  <a:pt x="2750" y="4248"/>
                </a:lnTo>
                <a:lnTo>
                  <a:pt x="2753" y="4243"/>
                </a:lnTo>
                <a:lnTo>
                  <a:pt x="2756" y="4236"/>
                </a:lnTo>
                <a:lnTo>
                  <a:pt x="2758" y="4229"/>
                </a:lnTo>
                <a:lnTo>
                  <a:pt x="2758" y="4214"/>
                </a:lnTo>
                <a:lnTo>
                  <a:pt x="2755" y="4195"/>
                </a:lnTo>
                <a:lnTo>
                  <a:pt x="2748" y="4172"/>
                </a:lnTo>
                <a:lnTo>
                  <a:pt x="2467" y="3451"/>
                </a:lnTo>
                <a:lnTo>
                  <a:pt x="2453" y="3523"/>
                </a:lnTo>
                <a:lnTo>
                  <a:pt x="2438" y="3594"/>
                </a:lnTo>
                <a:lnTo>
                  <a:pt x="2421" y="3665"/>
                </a:lnTo>
                <a:lnTo>
                  <a:pt x="2404" y="3736"/>
                </a:lnTo>
                <a:lnTo>
                  <a:pt x="2387" y="3807"/>
                </a:lnTo>
                <a:lnTo>
                  <a:pt x="2367" y="3877"/>
                </a:lnTo>
                <a:lnTo>
                  <a:pt x="2326" y="4017"/>
                </a:lnTo>
                <a:lnTo>
                  <a:pt x="2230" y="3999"/>
                </a:lnTo>
                <a:lnTo>
                  <a:pt x="2458" y="2677"/>
                </a:lnTo>
                <a:lnTo>
                  <a:pt x="2555" y="2696"/>
                </a:lnTo>
                <a:close/>
                <a:moveTo>
                  <a:pt x="4183" y="2696"/>
                </a:moveTo>
                <a:lnTo>
                  <a:pt x="4279" y="2677"/>
                </a:lnTo>
                <a:lnTo>
                  <a:pt x="4508" y="3999"/>
                </a:lnTo>
                <a:lnTo>
                  <a:pt x="4412" y="4017"/>
                </a:lnTo>
                <a:lnTo>
                  <a:pt x="4371" y="3877"/>
                </a:lnTo>
                <a:lnTo>
                  <a:pt x="4352" y="3807"/>
                </a:lnTo>
                <a:lnTo>
                  <a:pt x="4334" y="3736"/>
                </a:lnTo>
                <a:lnTo>
                  <a:pt x="4317" y="3665"/>
                </a:lnTo>
                <a:lnTo>
                  <a:pt x="4300" y="3594"/>
                </a:lnTo>
                <a:lnTo>
                  <a:pt x="4285" y="3523"/>
                </a:lnTo>
                <a:lnTo>
                  <a:pt x="4271" y="3451"/>
                </a:lnTo>
                <a:lnTo>
                  <a:pt x="3990" y="4172"/>
                </a:lnTo>
                <a:lnTo>
                  <a:pt x="3983" y="4195"/>
                </a:lnTo>
                <a:lnTo>
                  <a:pt x="3980" y="4214"/>
                </a:lnTo>
                <a:lnTo>
                  <a:pt x="3981" y="4229"/>
                </a:lnTo>
                <a:lnTo>
                  <a:pt x="3983" y="4236"/>
                </a:lnTo>
                <a:lnTo>
                  <a:pt x="3985" y="4243"/>
                </a:lnTo>
                <a:lnTo>
                  <a:pt x="3988" y="4248"/>
                </a:lnTo>
                <a:lnTo>
                  <a:pt x="3991" y="4253"/>
                </a:lnTo>
                <a:lnTo>
                  <a:pt x="4002" y="4260"/>
                </a:lnTo>
                <a:lnTo>
                  <a:pt x="4015" y="4265"/>
                </a:lnTo>
                <a:lnTo>
                  <a:pt x="4029" y="4265"/>
                </a:lnTo>
                <a:lnTo>
                  <a:pt x="5697" y="4265"/>
                </a:lnTo>
                <a:lnTo>
                  <a:pt x="5697" y="4333"/>
                </a:lnTo>
                <a:lnTo>
                  <a:pt x="4029" y="4333"/>
                </a:lnTo>
                <a:lnTo>
                  <a:pt x="4008" y="4333"/>
                </a:lnTo>
                <a:lnTo>
                  <a:pt x="3990" y="4329"/>
                </a:lnTo>
                <a:lnTo>
                  <a:pt x="3973" y="4322"/>
                </a:lnTo>
                <a:lnTo>
                  <a:pt x="3959" y="4316"/>
                </a:lnTo>
                <a:lnTo>
                  <a:pt x="3947" y="4305"/>
                </a:lnTo>
                <a:lnTo>
                  <a:pt x="3937" y="4295"/>
                </a:lnTo>
                <a:lnTo>
                  <a:pt x="3929" y="4283"/>
                </a:lnTo>
                <a:lnTo>
                  <a:pt x="3922" y="4270"/>
                </a:lnTo>
                <a:lnTo>
                  <a:pt x="3919" y="4256"/>
                </a:lnTo>
                <a:lnTo>
                  <a:pt x="3915" y="4241"/>
                </a:lnTo>
                <a:lnTo>
                  <a:pt x="3914" y="4226"/>
                </a:lnTo>
                <a:lnTo>
                  <a:pt x="3914" y="4211"/>
                </a:lnTo>
                <a:lnTo>
                  <a:pt x="3915" y="4194"/>
                </a:lnTo>
                <a:lnTo>
                  <a:pt x="3917" y="4178"/>
                </a:lnTo>
                <a:lnTo>
                  <a:pt x="3922" y="4163"/>
                </a:lnTo>
                <a:lnTo>
                  <a:pt x="3927" y="4148"/>
                </a:lnTo>
                <a:lnTo>
                  <a:pt x="4249" y="3324"/>
                </a:lnTo>
                <a:lnTo>
                  <a:pt x="4235" y="3246"/>
                </a:lnTo>
                <a:lnTo>
                  <a:pt x="4225" y="3169"/>
                </a:lnTo>
                <a:lnTo>
                  <a:pt x="4215" y="3091"/>
                </a:lnTo>
                <a:lnTo>
                  <a:pt x="4207" y="3013"/>
                </a:lnTo>
                <a:lnTo>
                  <a:pt x="4200" y="2933"/>
                </a:lnTo>
                <a:lnTo>
                  <a:pt x="4193" y="2855"/>
                </a:lnTo>
                <a:lnTo>
                  <a:pt x="4188" y="2775"/>
                </a:lnTo>
                <a:lnTo>
                  <a:pt x="4183" y="2696"/>
                </a:lnTo>
                <a:close/>
                <a:moveTo>
                  <a:pt x="1991" y="4109"/>
                </a:moveTo>
                <a:lnTo>
                  <a:pt x="1991" y="4109"/>
                </a:lnTo>
                <a:lnTo>
                  <a:pt x="1994" y="4109"/>
                </a:lnTo>
                <a:lnTo>
                  <a:pt x="1999" y="4109"/>
                </a:lnTo>
                <a:lnTo>
                  <a:pt x="2001" y="4107"/>
                </a:lnTo>
                <a:lnTo>
                  <a:pt x="2003" y="4106"/>
                </a:lnTo>
                <a:lnTo>
                  <a:pt x="2004" y="4102"/>
                </a:lnTo>
                <a:lnTo>
                  <a:pt x="2003" y="4100"/>
                </a:lnTo>
                <a:lnTo>
                  <a:pt x="2001" y="4097"/>
                </a:lnTo>
                <a:lnTo>
                  <a:pt x="1999" y="4095"/>
                </a:lnTo>
                <a:lnTo>
                  <a:pt x="1864" y="4004"/>
                </a:lnTo>
                <a:lnTo>
                  <a:pt x="1843" y="3994"/>
                </a:lnTo>
                <a:lnTo>
                  <a:pt x="1825" y="3985"/>
                </a:lnTo>
                <a:lnTo>
                  <a:pt x="1804" y="3980"/>
                </a:lnTo>
                <a:lnTo>
                  <a:pt x="1784" y="3980"/>
                </a:lnTo>
                <a:lnTo>
                  <a:pt x="1465" y="3982"/>
                </a:lnTo>
                <a:lnTo>
                  <a:pt x="1465" y="3914"/>
                </a:lnTo>
                <a:lnTo>
                  <a:pt x="1782" y="3914"/>
                </a:lnTo>
                <a:lnTo>
                  <a:pt x="1811" y="3916"/>
                </a:lnTo>
                <a:lnTo>
                  <a:pt x="1825" y="3916"/>
                </a:lnTo>
                <a:lnTo>
                  <a:pt x="1838" y="3919"/>
                </a:lnTo>
                <a:lnTo>
                  <a:pt x="1852" y="3923"/>
                </a:lnTo>
                <a:lnTo>
                  <a:pt x="1864" y="3928"/>
                </a:lnTo>
                <a:lnTo>
                  <a:pt x="1875" y="3933"/>
                </a:lnTo>
                <a:lnTo>
                  <a:pt x="1887" y="3941"/>
                </a:lnTo>
                <a:lnTo>
                  <a:pt x="2036" y="4061"/>
                </a:lnTo>
                <a:lnTo>
                  <a:pt x="2045" y="4070"/>
                </a:lnTo>
                <a:lnTo>
                  <a:pt x="2053" y="4078"/>
                </a:lnTo>
                <a:lnTo>
                  <a:pt x="2058" y="4089"/>
                </a:lnTo>
                <a:lnTo>
                  <a:pt x="2062" y="4099"/>
                </a:lnTo>
                <a:lnTo>
                  <a:pt x="2065" y="4107"/>
                </a:lnTo>
                <a:lnTo>
                  <a:pt x="2065" y="4117"/>
                </a:lnTo>
                <a:lnTo>
                  <a:pt x="2063" y="4126"/>
                </a:lnTo>
                <a:lnTo>
                  <a:pt x="2062" y="4134"/>
                </a:lnTo>
                <a:lnTo>
                  <a:pt x="2058" y="4143"/>
                </a:lnTo>
                <a:lnTo>
                  <a:pt x="2053" y="4150"/>
                </a:lnTo>
                <a:lnTo>
                  <a:pt x="2048" y="4155"/>
                </a:lnTo>
                <a:lnTo>
                  <a:pt x="2041" y="4160"/>
                </a:lnTo>
                <a:lnTo>
                  <a:pt x="2035" y="4163"/>
                </a:lnTo>
                <a:lnTo>
                  <a:pt x="2026" y="4165"/>
                </a:lnTo>
                <a:lnTo>
                  <a:pt x="2018" y="4165"/>
                </a:lnTo>
                <a:lnTo>
                  <a:pt x="2008" y="4163"/>
                </a:lnTo>
                <a:lnTo>
                  <a:pt x="1962" y="4153"/>
                </a:lnTo>
                <a:lnTo>
                  <a:pt x="1962" y="4194"/>
                </a:lnTo>
                <a:lnTo>
                  <a:pt x="1586" y="4194"/>
                </a:lnTo>
                <a:lnTo>
                  <a:pt x="1586" y="4175"/>
                </a:lnTo>
                <a:lnTo>
                  <a:pt x="1537" y="4187"/>
                </a:lnTo>
                <a:lnTo>
                  <a:pt x="1535" y="4117"/>
                </a:lnTo>
                <a:lnTo>
                  <a:pt x="1833" y="4050"/>
                </a:lnTo>
                <a:lnTo>
                  <a:pt x="1991" y="4109"/>
                </a:lnTo>
                <a:close/>
                <a:moveTo>
                  <a:pt x="4752" y="1699"/>
                </a:moveTo>
                <a:lnTo>
                  <a:pt x="4908" y="1642"/>
                </a:lnTo>
                <a:lnTo>
                  <a:pt x="5206" y="1710"/>
                </a:lnTo>
                <a:lnTo>
                  <a:pt x="5204" y="1779"/>
                </a:lnTo>
                <a:lnTo>
                  <a:pt x="5157" y="1767"/>
                </a:lnTo>
                <a:lnTo>
                  <a:pt x="5157" y="1786"/>
                </a:lnTo>
                <a:lnTo>
                  <a:pt x="4779" y="1786"/>
                </a:lnTo>
                <a:lnTo>
                  <a:pt x="4779" y="1744"/>
                </a:lnTo>
                <a:lnTo>
                  <a:pt x="4733" y="1755"/>
                </a:lnTo>
                <a:lnTo>
                  <a:pt x="4725" y="1757"/>
                </a:lnTo>
                <a:lnTo>
                  <a:pt x="4717" y="1757"/>
                </a:lnTo>
                <a:lnTo>
                  <a:pt x="4708" y="1754"/>
                </a:lnTo>
                <a:lnTo>
                  <a:pt x="4701" y="1750"/>
                </a:lnTo>
                <a:lnTo>
                  <a:pt x="4695" y="1747"/>
                </a:lnTo>
                <a:lnTo>
                  <a:pt x="4688" y="1740"/>
                </a:lnTo>
                <a:lnTo>
                  <a:pt x="4684" y="1733"/>
                </a:lnTo>
                <a:lnTo>
                  <a:pt x="4679" y="1727"/>
                </a:lnTo>
                <a:lnTo>
                  <a:pt x="4678" y="1718"/>
                </a:lnTo>
                <a:lnTo>
                  <a:pt x="4678" y="1710"/>
                </a:lnTo>
                <a:lnTo>
                  <a:pt x="4678" y="1699"/>
                </a:lnTo>
                <a:lnTo>
                  <a:pt x="4679" y="1691"/>
                </a:lnTo>
                <a:lnTo>
                  <a:pt x="4683" y="1681"/>
                </a:lnTo>
                <a:lnTo>
                  <a:pt x="4689" y="1671"/>
                </a:lnTo>
                <a:lnTo>
                  <a:pt x="4696" y="1662"/>
                </a:lnTo>
                <a:lnTo>
                  <a:pt x="4706" y="1652"/>
                </a:lnTo>
                <a:lnTo>
                  <a:pt x="4855" y="1533"/>
                </a:lnTo>
                <a:lnTo>
                  <a:pt x="4866" y="1525"/>
                </a:lnTo>
                <a:lnTo>
                  <a:pt x="4878" y="1520"/>
                </a:lnTo>
                <a:lnTo>
                  <a:pt x="4891" y="1515"/>
                </a:lnTo>
                <a:lnTo>
                  <a:pt x="4905" y="1511"/>
                </a:lnTo>
                <a:lnTo>
                  <a:pt x="4916" y="1508"/>
                </a:lnTo>
                <a:lnTo>
                  <a:pt x="4932" y="1506"/>
                </a:lnTo>
                <a:lnTo>
                  <a:pt x="4961" y="1506"/>
                </a:lnTo>
                <a:lnTo>
                  <a:pt x="5277" y="1506"/>
                </a:lnTo>
                <a:lnTo>
                  <a:pt x="5277" y="1574"/>
                </a:lnTo>
                <a:lnTo>
                  <a:pt x="4959" y="1571"/>
                </a:lnTo>
                <a:lnTo>
                  <a:pt x="4937" y="1572"/>
                </a:lnTo>
                <a:lnTo>
                  <a:pt x="4918" y="1577"/>
                </a:lnTo>
                <a:lnTo>
                  <a:pt x="4898" y="1584"/>
                </a:lnTo>
                <a:lnTo>
                  <a:pt x="4879" y="1596"/>
                </a:lnTo>
                <a:lnTo>
                  <a:pt x="4744" y="1686"/>
                </a:lnTo>
                <a:lnTo>
                  <a:pt x="4740" y="1689"/>
                </a:lnTo>
                <a:lnTo>
                  <a:pt x="4739" y="1691"/>
                </a:lnTo>
                <a:lnTo>
                  <a:pt x="4739" y="1694"/>
                </a:lnTo>
                <a:lnTo>
                  <a:pt x="4739" y="1698"/>
                </a:lnTo>
                <a:lnTo>
                  <a:pt x="4740" y="1699"/>
                </a:lnTo>
                <a:lnTo>
                  <a:pt x="4744" y="1701"/>
                </a:lnTo>
                <a:lnTo>
                  <a:pt x="4747" y="1701"/>
                </a:lnTo>
                <a:lnTo>
                  <a:pt x="4752" y="1699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8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0C7C1CF-6ECB-40C3-9CBA-CE9901D5B787}"/>
              </a:ext>
            </a:extLst>
          </p:cNvPr>
          <p:cNvSpPr txBox="1"/>
          <p:nvPr/>
        </p:nvSpPr>
        <p:spPr>
          <a:xfrm>
            <a:off x="8219347" y="2498018"/>
            <a:ext cx="2043115" cy="549363"/>
          </a:xfrm>
          <a:prstGeom prst="rect">
            <a:avLst/>
          </a:prstGeom>
          <a:solidFill>
            <a:schemeClr val="bg2">
              <a:lumMod val="65000"/>
              <a:lumOff val="35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171278" marR="0" lvl="0" indent="-17127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2E38">
                  <a:lumMod val="20000"/>
                  <a:lumOff val="8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ata </a:t>
            </a:r>
            <a:r>
              <a:rPr kumimoji="0" lang="en-IN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ggregation</a:t>
            </a:r>
          </a:p>
          <a:p>
            <a:pPr marL="171278" marR="0" lvl="0" indent="-17127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2E38">
                  <a:lumMod val="20000"/>
                  <a:lumOff val="8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98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ata visualization</a:t>
            </a:r>
            <a:endParaRPr kumimoji="0" lang="en-IN" sz="1198" b="0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356963-8884-4BE8-971F-A3E388E4A5DB}"/>
              </a:ext>
            </a:extLst>
          </p:cNvPr>
          <p:cNvSpPr txBox="1"/>
          <p:nvPr/>
        </p:nvSpPr>
        <p:spPr>
          <a:xfrm>
            <a:off x="6807078" y="3275835"/>
            <a:ext cx="4853681" cy="328923"/>
          </a:xfrm>
          <a:prstGeom prst="rect">
            <a:avLst/>
          </a:prstGeom>
          <a:solidFill>
            <a:schemeClr val="tx2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AP Practice Europ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upply Capacity Dashboard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F4E8DF-020A-F96F-0D99-124D5AE0EA6C}"/>
              </a:ext>
            </a:extLst>
          </p:cNvPr>
          <p:cNvSpPr txBox="1"/>
          <p:nvPr/>
        </p:nvSpPr>
        <p:spPr>
          <a:xfrm>
            <a:off x="6530195" y="939464"/>
            <a:ext cx="5448445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upply data sources, visualization and applianc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5B294CC-DBF7-DD7E-E6F9-BA25D2BFD351}"/>
              </a:ext>
            </a:extLst>
          </p:cNvPr>
          <p:cNvSpPr/>
          <p:nvPr/>
        </p:nvSpPr>
        <p:spPr>
          <a:xfrm>
            <a:off x="6716713" y="1407250"/>
            <a:ext cx="361393" cy="34030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54FD88A-4AB1-C46A-C681-F6D3A49B1C3B}"/>
              </a:ext>
            </a:extLst>
          </p:cNvPr>
          <p:cNvSpPr/>
          <p:nvPr/>
        </p:nvSpPr>
        <p:spPr>
          <a:xfrm>
            <a:off x="6695029" y="3264450"/>
            <a:ext cx="361393" cy="34030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1B6CD50-6398-7B0C-F54B-F94EEDDD934C}"/>
              </a:ext>
            </a:extLst>
          </p:cNvPr>
          <p:cNvSpPr/>
          <p:nvPr/>
        </p:nvSpPr>
        <p:spPr>
          <a:xfrm>
            <a:off x="6728950" y="4625033"/>
            <a:ext cx="361393" cy="34030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352065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665408-1C41-A4E3-E0F0-1F4BD7F2B637}"/>
              </a:ext>
            </a:extLst>
          </p:cNvPr>
          <p:cNvSpPr/>
          <p:nvPr/>
        </p:nvSpPr>
        <p:spPr>
          <a:xfrm>
            <a:off x="11125200" y="6134100"/>
            <a:ext cx="695325" cy="6286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8BD75B-77D4-D12B-FDFD-8C6BD7F30D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80" y="857664"/>
            <a:ext cx="11724640" cy="545763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9AD7069-2622-0714-A47C-E43857CC745B}"/>
              </a:ext>
            </a:extLst>
          </p:cNvPr>
          <p:cNvSpPr/>
          <p:nvPr/>
        </p:nvSpPr>
        <p:spPr>
          <a:xfrm>
            <a:off x="1513840" y="1259840"/>
            <a:ext cx="1076960" cy="487426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2967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665408-1C41-A4E3-E0F0-1F4BD7F2B637}"/>
              </a:ext>
            </a:extLst>
          </p:cNvPr>
          <p:cNvSpPr/>
          <p:nvPr/>
        </p:nvSpPr>
        <p:spPr>
          <a:xfrm>
            <a:off x="11125200" y="6134100"/>
            <a:ext cx="695325" cy="6286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0EC372-448D-E574-369C-97F8E99C8B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57" y="694688"/>
            <a:ext cx="11703685" cy="5468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968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B8B00-1CB3-0425-6A52-3DBCF2BED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l-PL" dirty="0"/>
              <a:t>Variance App + Mercury 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144DF7-5B52-5D2C-AAC1-BA0CD62F6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4CC0CF-00FB-9C87-5557-0E49714DF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312" y="1089660"/>
            <a:ext cx="10291313" cy="52578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8C60C00-4A04-20B6-008C-8C6563ED0DF6}"/>
              </a:ext>
            </a:extLst>
          </p:cNvPr>
          <p:cNvSpPr/>
          <p:nvPr/>
        </p:nvSpPr>
        <p:spPr>
          <a:xfrm>
            <a:off x="1249680" y="1259840"/>
            <a:ext cx="1310640" cy="11684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74225E-E56F-6956-B71E-DA7D2760C274}"/>
              </a:ext>
            </a:extLst>
          </p:cNvPr>
          <p:cNvSpPr/>
          <p:nvPr/>
        </p:nvSpPr>
        <p:spPr>
          <a:xfrm>
            <a:off x="11206292" y="6257400"/>
            <a:ext cx="437072" cy="5908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3129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665408-1C41-A4E3-E0F0-1F4BD7F2B637}"/>
              </a:ext>
            </a:extLst>
          </p:cNvPr>
          <p:cNvSpPr/>
          <p:nvPr/>
        </p:nvSpPr>
        <p:spPr>
          <a:xfrm>
            <a:off x="11125200" y="6134100"/>
            <a:ext cx="695325" cy="6286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57CC8A-024B-3A86-BAF9-2FDCCA1EDA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1712" y="393700"/>
            <a:ext cx="7648575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8671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665408-1C41-A4E3-E0F0-1F4BD7F2B637}"/>
              </a:ext>
            </a:extLst>
          </p:cNvPr>
          <p:cNvSpPr/>
          <p:nvPr/>
        </p:nvSpPr>
        <p:spPr>
          <a:xfrm>
            <a:off x="11125200" y="6134100"/>
            <a:ext cx="695325" cy="6286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B05F93-E3BB-B01A-B4A7-1C3485C9DE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684785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12FB99-99DE-5BE9-CC35-0D9DF14716CA}"/>
              </a:ext>
            </a:extLst>
          </p:cNvPr>
          <p:cNvSpPr/>
          <p:nvPr/>
        </p:nvSpPr>
        <p:spPr>
          <a:xfrm>
            <a:off x="1310640" y="1137920"/>
            <a:ext cx="1432560" cy="214376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553B5D-CFF1-D997-8D49-A9D29AE7BC4B}"/>
              </a:ext>
            </a:extLst>
          </p:cNvPr>
          <p:cNvSpPr/>
          <p:nvPr/>
        </p:nvSpPr>
        <p:spPr>
          <a:xfrm>
            <a:off x="371475" y="5303520"/>
            <a:ext cx="1081405" cy="182880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4510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665408-1C41-A4E3-E0F0-1F4BD7F2B637}"/>
              </a:ext>
            </a:extLst>
          </p:cNvPr>
          <p:cNvSpPr/>
          <p:nvPr/>
        </p:nvSpPr>
        <p:spPr>
          <a:xfrm>
            <a:off x="11125200" y="6134100"/>
            <a:ext cx="695325" cy="6286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107852-113F-5669-80CA-AE5DFB2A0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22" y="95250"/>
            <a:ext cx="11496675" cy="22955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995333-B842-3AC3-F55E-6FC838FDA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22" y="2555223"/>
            <a:ext cx="11496675" cy="17475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AA3D0D-0AFF-34E4-3BCC-1A905A7CDA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22" y="4538662"/>
            <a:ext cx="5410200" cy="17430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F86076-91A6-FD81-127E-1A321CC6FD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6903" y="4538662"/>
            <a:ext cx="6391275" cy="174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9745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156A9-ECFA-CF07-BD21-F9C614AD2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/>
              <a:t>Further ac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CE0EB0-9AF5-6640-F115-F3AEA6D5A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626C8C-6841-C35C-645F-0350F5096A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just"/>
            <a:r>
              <a:rPr lang="pl-PL" dirty="0"/>
              <a:t>In order to make this dashboard accessible for any user, I had to somehow bypass a requirement for providing credentials.</a:t>
            </a:r>
          </a:p>
          <a:p>
            <a:pPr algn="just"/>
            <a:endParaRPr lang="pl-PL" dirty="0"/>
          </a:p>
          <a:p>
            <a:pPr algn="just"/>
            <a:r>
              <a:rPr lang="pl-PL" dirty="0"/>
              <a:t>This was caused by the fact that my model was a composite (both Sharepoint Excel and live connection to external source). </a:t>
            </a:r>
          </a:p>
          <a:p>
            <a:pPr algn="just"/>
            <a:endParaRPr lang="pl-PL" dirty="0"/>
          </a:p>
          <a:p>
            <a:pPr algn="just"/>
            <a:r>
              <a:rPr lang="pl-PL" dirty="0"/>
              <a:t>In such case, live connection requires any user to be granted with access to the source, even for the dashboard using only part of its data.</a:t>
            </a:r>
          </a:p>
          <a:p>
            <a:pPr algn="just"/>
            <a:endParaRPr lang="pl-PL" dirty="0"/>
          </a:p>
          <a:p>
            <a:pPr algn="just"/>
            <a:r>
              <a:rPr lang="pl-PL" dirty="0"/>
              <a:t>To bypass this, I have exported the data from source dashboard into a new one, in order to create the same calculations and visuals. </a:t>
            </a:r>
          </a:p>
          <a:p>
            <a:pPr algn="just"/>
            <a:endParaRPr lang="pl-PL" dirty="0"/>
          </a:p>
          <a:p>
            <a:pPr algn="just"/>
            <a:r>
              <a:rPr lang="pl-PL" dirty="0"/>
              <a:t>In this scenario, dashboard is accessible to any user with view permissions and data security is maintain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49CB8A-8164-703C-E8FD-D62553639721}"/>
              </a:ext>
            </a:extLst>
          </p:cNvPr>
          <p:cNvSpPr/>
          <p:nvPr/>
        </p:nvSpPr>
        <p:spPr>
          <a:xfrm>
            <a:off x="10982960" y="6084320"/>
            <a:ext cx="792480" cy="6924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7131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62527E-92A8-B550-AE27-05C7BDF6C9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040" y="185695"/>
            <a:ext cx="11480800" cy="23839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27D4453-D13E-3A90-FC4D-0B08668C03FF}"/>
              </a:ext>
            </a:extLst>
          </p:cNvPr>
          <p:cNvSpPr/>
          <p:nvPr/>
        </p:nvSpPr>
        <p:spPr>
          <a:xfrm>
            <a:off x="1087120" y="436006"/>
            <a:ext cx="1137920" cy="1941434"/>
          </a:xfrm>
          <a:prstGeom prst="rect">
            <a:avLst/>
          </a:pr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E6974C-8150-C621-E4C0-1D70C3F6BC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160" y="2627751"/>
            <a:ext cx="7396480" cy="402782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4CEF522-AA0E-EB93-E96B-051474E98ADC}"/>
              </a:ext>
            </a:extLst>
          </p:cNvPr>
          <p:cNvSpPr/>
          <p:nvPr/>
        </p:nvSpPr>
        <p:spPr>
          <a:xfrm>
            <a:off x="1656080" y="3535679"/>
            <a:ext cx="1087120" cy="1389105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F99131-9FF6-A8A4-FB12-CF86515D41EB}"/>
              </a:ext>
            </a:extLst>
          </p:cNvPr>
          <p:cNvSpPr/>
          <p:nvPr/>
        </p:nvSpPr>
        <p:spPr>
          <a:xfrm>
            <a:off x="11115040" y="6106160"/>
            <a:ext cx="660400" cy="67056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FAFA-B577-5803-3B69-8D1FEE15004D}"/>
              </a:ext>
            </a:extLst>
          </p:cNvPr>
          <p:cNvSpPr/>
          <p:nvPr/>
        </p:nvSpPr>
        <p:spPr>
          <a:xfrm>
            <a:off x="6959600" y="6248400"/>
            <a:ext cx="497840" cy="4071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7053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709169E-5344-B710-37E1-3E4A4D8B67AC}"/>
              </a:ext>
            </a:extLst>
          </p:cNvPr>
          <p:cNvSpPr txBox="1"/>
          <p:nvPr/>
        </p:nvSpPr>
        <p:spPr>
          <a:xfrm>
            <a:off x="3931920" y="223520"/>
            <a:ext cx="7528560" cy="82176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pl-PL" sz="6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C50730-CF3E-E256-6EF0-894076AD3B88}"/>
              </a:ext>
            </a:extLst>
          </p:cNvPr>
          <p:cNvSpPr/>
          <p:nvPr/>
        </p:nvSpPr>
        <p:spPr>
          <a:xfrm>
            <a:off x="10871200" y="6146800"/>
            <a:ext cx="853440" cy="61976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7106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90EF34-75DB-970D-B54F-0ECA01A15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8341" y="374650"/>
            <a:ext cx="10341274" cy="52768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BF3B79A-112D-04F6-9D0A-253B561F0917}"/>
              </a:ext>
            </a:extLst>
          </p:cNvPr>
          <p:cNvSpPr/>
          <p:nvPr/>
        </p:nvSpPr>
        <p:spPr>
          <a:xfrm>
            <a:off x="1177733" y="2458706"/>
            <a:ext cx="1574093" cy="2190356"/>
          </a:xfrm>
          <a:prstGeom prst="rect">
            <a:avLst/>
          </a:prstGeom>
          <a:solidFill>
            <a:srgbClr val="2E2E3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2A6101-8397-E3AB-F397-501330862E57}"/>
              </a:ext>
            </a:extLst>
          </p:cNvPr>
          <p:cNvSpPr/>
          <p:nvPr/>
        </p:nvSpPr>
        <p:spPr>
          <a:xfrm>
            <a:off x="1328468" y="655608"/>
            <a:ext cx="819509" cy="550892"/>
          </a:xfrm>
          <a:prstGeom prst="rect">
            <a:avLst/>
          </a:prstGeom>
          <a:solidFill>
            <a:srgbClr val="2E2E38"/>
          </a:solidFill>
          <a:ln>
            <a:solidFill>
              <a:srgbClr val="2E2E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57F97D-BDAA-C05F-9165-303BBFABD008}"/>
              </a:ext>
            </a:extLst>
          </p:cNvPr>
          <p:cNvSpPr/>
          <p:nvPr/>
        </p:nvSpPr>
        <p:spPr>
          <a:xfrm>
            <a:off x="11155680" y="6187440"/>
            <a:ext cx="568960" cy="57912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479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73CC00F-71D8-9376-0103-F60FE4FC4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EEE448B-7832-7CDE-AC8D-B39F8F2D02A6}"/>
              </a:ext>
            </a:extLst>
          </p:cNvPr>
          <p:cNvSpPr/>
          <p:nvPr/>
        </p:nvSpPr>
        <p:spPr>
          <a:xfrm>
            <a:off x="4055533" y="1761067"/>
            <a:ext cx="2556934" cy="143933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D24B8F-54C2-3E19-BBD9-89B5D4187D5C}"/>
              </a:ext>
            </a:extLst>
          </p:cNvPr>
          <p:cNvSpPr/>
          <p:nvPr/>
        </p:nvSpPr>
        <p:spPr>
          <a:xfrm>
            <a:off x="3598333" y="2810933"/>
            <a:ext cx="1388534" cy="2743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1011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C7315ED-7319-1E15-531A-6BC048BA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693" y="208741"/>
            <a:ext cx="10222032" cy="43529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744AEA2-B5A7-F375-D75A-6A908CFA2529}"/>
              </a:ext>
            </a:extLst>
          </p:cNvPr>
          <p:cNvSpPr/>
          <p:nvPr/>
        </p:nvSpPr>
        <p:spPr>
          <a:xfrm>
            <a:off x="11226800" y="6319520"/>
            <a:ext cx="477520" cy="39624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52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6D5A37-5F27-F12C-6FE7-5985FCFB1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375" y="804862"/>
            <a:ext cx="8477250" cy="524827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5AA8E4C-C16B-98C6-C695-311507717D1F}"/>
              </a:ext>
            </a:extLst>
          </p:cNvPr>
          <p:cNvSpPr/>
          <p:nvPr/>
        </p:nvSpPr>
        <p:spPr>
          <a:xfrm>
            <a:off x="11084560" y="6238240"/>
            <a:ext cx="711200" cy="4876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810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75291F-649C-DC6E-E8C9-A5F025CA76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-55880"/>
            <a:ext cx="126494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B898CA6-4A04-168C-6B80-F6F9861498D0}"/>
              </a:ext>
            </a:extLst>
          </p:cNvPr>
          <p:cNvSpPr/>
          <p:nvPr/>
        </p:nvSpPr>
        <p:spPr>
          <a:xfrm>
            <a:off x="1239520" y="5820876"/>
            <a:ext cx="2580640" cy="467359"/>
          </a:xfrm>
          <a:prstGeom prst="rect">
            <a:avLst/>
          </a:prstGeom>
          <a:solidFill>
            <a:srgbClr val="252423"/>
          </a:solidFill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Doe Joh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41AE88-4117-71CD-8198-A6642A7C2F0E}"/>
              </a:ext>
            </a:extLst>
          </p:cNvPr>
          <p:cNvSpPr/>
          <p:nvPr/>
        </p:nvSpPr>
        <p:spPr>
          <a:xfrm>
            <a:off x="1876926" y="6311498"/>
            <a:ext cx="2829828" cy="467359"/>
          </a:xfrm>
          <a:prstGeom prst="rect">
            <a:avLst/>
          </a:prstGeom>
          <a:solidFill>
            <a:srgbClr val="252423"/>
          </a:solidFill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/>
              <a:t>Business Intellige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4D3608-49A9-6E05-5B58-C63F812933B6}"/>
              </a:ext>
            </a:extLst>
          </p:cNvPr>
          <p:cNvSpPr/>
          <p:nvPr/>
        </p:nvSpPr>
        <p:spPr>
          <a:xfrm>
            <a:off x="1601537" y="3312160"/>
            <a:ext cx="1347537" cy="1999383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7384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1E3F5-4D53-0002-C4BE-B2B95E01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l-PL" dirty="0"/>
              <a:t>Employee’s Capabilities 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677A33-037C-0AC7-9651-9C25B715B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D66DC2-A9DF-55F1-0624-A2254E2D17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0" y="885080"/>
            <a:ext cx="11938000" cy="57921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107F667-1064-C83D-A654-B812AE3D3215}"/>
              </a:ext>
            </a:extLst>
          </p:cNvPr>
          <p:cNvSpPr/>
          <p:nvPr/>
        </p:nvSpPr>
        <p:spPr>
          <a:xfrm>
            <a:off x="1490070" y="1769374"/>
            <a:ext cx="1664898" cy="2761986"/>
          </a:xfrm>
          <a:prstGeom prst="rect">
            <a:avLst/>
          </a:prstGeom>
          <a:solidFill>
            <a:srgbClr val="2E2E38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8FE75B-20AA-657D-1B11-344F4061EC42}"/>
              </a:ext>
            </a:extLst>
          </p:cNvPr>
          <p:cNvSpPr/>
          <p:nvPr/>
        </p:nvSpPr>
        <p:spPr>
          <a:xfrm>
            <a:off x="8071450" y="1701896"/>
            <a:ext cx="1664898" cy="282946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93075C-C24B-3B64-4507-444835F1A34A}"/>
              </a:ext>
            </a:extLst>
          </p:cNvPr>
          <p:cNvSpPr/>
          <p:nvPr/>
        </p:nvSpPr>
        <p:spPr>
          <a:xfrm>
            <a:off x="9560560" y="4790561"/>
            <a:ext cx="1513840" cy="187839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C5EE89-F104-3BB4-3A2B-EC5C9CAAA681}"/>
              </a:ext>
            </a:extLst>
          </p:cNvPr>
          <p:cNvSpPr/>
          <p:nvPr/>
        </p:nvSpPr>
        <p:spPr>
          <a:xfrm>
            <a:off x="4429760" y="4663440"/>
            <a:ext cx="3769360" cy="284480"/>
          </a:xfrm>
          <a:prstGeom prst="rect">
            <a:avLst/>
          </a:prstGeom>
          <a:solidFill>
            <a:srgbClr val="E6BD26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1F79E4-A7F5-9A93-151C-A655612054CC}"/>
              </a:ext>
            </a:extLst>
          </p:cNvPr>
          <p:cNvSpPr/>
          <p:nvPr/>
        </p:nvSpPr>
        <p:spPr>
          <a:xfrm>
            <a:off x="10220960" y="6350000"/>
            <a:ext cx="1005840" cy="327197"/>
          </a:xfrm>
          <a:prstGeom prst="rect">
            <a:avLst/>
          </a:prstGeom>
          <a:solidFill>
            <a:srgbClr val="E6BD26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66FDE3-1689-3948-9A86-761FBDA7BF90}"/>
              </a:ext>
            </a:extLst>
          </p:cNvPr>
          <p:cNvSpPr/>
          <p:nvPr/>
        </p:nvSpPr>
        <p:spPr>
          <a:xfrm>
            <a:off x="1016000" y="5161280"/>
            <a:ext cx="1442720" cy="619760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074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D85437-A3EC-BB45-9D2D-2E769B5A1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937" y="923925"/>
            <a:ext cx="8620125" cy="50101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BA49223-842D-8B72-911F-BDB28E43C91F}"/>
              </a:ext>
            </a:extLst>
          </p:cNvPr>
          <p:cNvSpPr/>
          <p:nvPr/>
        </p:nvSpPr>
        <p:spPr>
          <a:xfrm>
            <a:off x="11216640" y="6177280"/>
            <a:ext cx="599440" cy="53848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59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6</TotalTime>
  <Words>374</Words>
  <Application>Microsoft Office PowerPoint</Application>
  <PresentationFormat>Widescreen</PresentationFormat>
  <Paragraphs>75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EYInterstate</vt:lpstr>
      <vt:lpstr>EYInterstate Light</vt:lpstr>
      <vt:lpstr>Wingdings</vt:lpstr>
      <vt:lpstr>2_EY dark background</vt:lpstr>
      <vt:lpstr>think-cell Slide</vt:lpstr>
      <vt:lpstr>My Portfolio Projects</vt:lpstr>
      <vt:lpstr>Variance App + Mercury Dash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ployee’s Capabilities Dashbo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UROPEAN UTILIZATION PROJECT</vt:lpstr>
      <vt:lpstr>SAP Practice Europe - Supply Capabilities dashboard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rther act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in Chmiel</dc:creator>
  <cp:lastModifiedBy>Marcin Chmiel</cp:lastModifiedBy>
  <cp:revision>7</cp:revision>
  <dcterms:created xsi:type="dcterms:W3CDTF">2023-12-14T11:35:55Z</dcterms:created>
  <dcterms:modified xsi:type="dcterms:W3CDTF">2024-03-05T14:45:35Z</dcterms:modified>
</cp:coreProperties>
</file>